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2" r:id="rId1"/>
  </p:sldMasterIdLst>
  <p:notesMasterIdLst>
    <p:notesMasterId r:id="rId17"/>
  </p:notesMasterIdLst>
  <p:sldIdLst>
    <p:sldId id="440" r:id="rId2"/>
    <p:sldId id="389" r:id="rId3"/>
    <p:sldId id="398" r:id="rId4"/>
    <p:sldId id="442" r:id="rId5"/>
    <p:sldId id="435" r:id="rId6"/>
    <p:sldId id="438" r:id="rId7"/>
    <p:sldId id="441" r:id="rId8"/>
    <p:sldId id="409" r:id="rId9"/>
    <p:sldId id="436" r:id="rId10"/>
    <p:sldId id="432" r:id="rId11"/>
    <p:sldId id="437" r:id="rId12"/>
    <p:sldId id="443" r:id="rId13"/>
    <p:sldId id="444" r:id="rId14"/>
    <p:sldId id="445" r:id="rId15"/>
    <p:sldId id="383" r:id="rId16"/>
  </p:sldIdLst>
  <p:sldSz cx="9906000" cy="6858000" type="A4"/>
  <p:notesSz cx="6670675" cy="99298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99"/>
    <a:srgbClr val="EAEAEA"/>
    <a:srgbClr val="0066FF"/>
    <a:srgbClr val="0099FF"/>
    <a:srgbClr val="292929"/>
    <a:srgbClr val="99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85101" autoAdjust="0"/>
  </p:normalViewPr>
  <p:slideViewPr>
    <p:cSldViewPr>
      <p:cViewPr>
        <p:scale>
          <a:sx n="96" d="100"/>
          <a:sy n="96" d="100"/>
        </p:scale>
        <p:origin x="-552" y="78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53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9" d="100"/>
          <a:sy n="69" d="100"/>
        </p:scale>
        <p:origin x="-3264" y="-102"/>
      </p:cViewPr>
      <p:guideLst>
        <p:guide orient="horz" pos="3128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3"/>
          <c:dLbls>
            <c:dLbl>
              <c:idx val="0"/>
              <c:layout>
                <c:manualLayout>
                  <c:x val="-5.336523281038949E-2"/>
                  <c:y val="6.500454751731916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</c:dLbl>
            <c:dLbl>
              <c:idx val="2"/>
              <c:layout>
                <c:manualLayout>
                  <c:x val="4.6412971658119856E-3"/>
                  <c:y val="-8.90444846994401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</c:dLbl>
            <c:dLbl>
              <c:idx val="4"/>
              <c:layout>
                <c:manualLayout>
                  <c:x val="0.15083064601009244"/>
                  <c:y val="0.17178717430643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</c:dLbl>
            <c:txPr>
              <a:bodyPr/>
              <a:lstStyle/>
              <a:p>
                <a:pPr>
                  <a:defRPr sz="1400" baseline="0"/>
                </a:pPr>
                <a:endParaRPr lang="ru-RU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eparator> </c:separator>
            <c:showLeaderLines val="1"/>
          </c:dLbls>
          <c:cat>
            <c:strRef>
              <c:f>Лист1!$A$2:$A$6</c:f>
              <c:strCache>
                <c:ptCount val="5"/>
                <c:pt idx="0">
                  <c:v>Алтайский край</c:v>
                </c:pt>
                <c:pt idx="1">
                  <c:v>Кемеровская область</c:v>
                </c:pt>
                <c:pt idx="2">
                  <c:v>Новосибирская область</c:v>
                </c:pt>
                <c:pt idx="3">
                  <c:v>Республика Алтай</c:v>
                </c:pt>
                <c:pt idx="4">
                  <c:v>Томская область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</c:v>
                </c:pt>
                <c:pt idx="1">
                  <c:v>11</c:v>
                </c:pt>
                <c:pt idx="2">
                  <c:v>13</c:v>
                </c:pt>
                <c:pt idx="3">
                  <c:v>5</c:v>
                </c:pt>
                <c:pt idx="4">
                  <c:v>9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59</c:v>
                </c:pt>
              </c:strCache>
            </c:strRef>
          </c:tx>
          <c:dPt>
            <c:idx val="0"/>
            <c:bubble3D val="0"/>
            <c:explosion val="2"/>
          </c:dPt>
          <c:dLbls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eparator> </c:separator>
            <c:showLeaderLines val="0"/>
          </c:dLbls>
          <c:cat>
            <c:strRef>
              <c:f>Лист1!$A$2:$A$3</c:f>
              <c:strCache>
                <c:ptCount val="2"/>
                <c:pt idx="0">
                  <c:v>Утверждено</c:v>
                </c:pt>
                <c:pt idx="1">
                  <c:v>Отказа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5</c:v>
                </c:pt>
                <c:pt idx="1">
                  <c:v>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layout/>
      <c:overlay val="0"/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есхозяйные ГТС</c:v>
                </c:pt>
              </c:strCache>
            </c:strRef>
          </c:tx>
          <c:dLbls>
            <c:dLbl>
              <c:idx val="6"/>
              <c:delete val="1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8</c:f>
              <c:numCache>
                <c:formatCode>m/d/yyyy</c:formatCode>
                <c:ptCount val="7"/>
                <c:pt idx="0">
                  <c:v>44196</c:v>
                </c:pt>
                <c:pt idx="1">
                  <c:v>44561</c:v>
                </c:pt>
                <c:pt idx="2">
                  <c:v>44926</c:v>
                </c:pt>
                <c:pt idx="3">
                  <c:v>45291</c:v>
                </c:pt>
                <c:pt idx="4">
                  <c:v>45657</c:v>
                </c:pt>
                <c:pt idx="5">
                  <c:v>46022</c:v>
                </c:pt>
                <c:pt idx="6">
                  <c:v>46080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19</c:v>
                </c:pt>
                <c:pt idx="1">
                  <c:v>81</c:v>
                </c:pt>
                <c:pt idx="2">
                  <c:v>48</c:v>
                </c:pt>
                <c:pt idx="3">
                  <c:v>26</c:v>
                </c:pt>
                <c:pt idx="4">
                  <c:v>7</c:v>
                </c:pt>
                <c:pt idx="5">
                  <c:v>4</c:v>
                </c:pt>
                <c:pt idx="6">
                  <c:v>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1858432"/>
        <c:axId val="131859968"/>
      </c:lineChart>
      <c:dateAx>
        <c:axId val="131858432"/>
        <c:scaling>
          <c:orientation val="minMax"/>
          <c:max val="46080"/>
          <c:min val="44196"/>
        </c:scaling>
        <c:delete val="0"/>
        <c:axPos val="b"/>
        <c:numFmt formatCode="m/d/yyyy" sourceLinked="0"/>
        <c:majorTickMark val="in"/>
        <c:minorTickMark val="none"/>
        <c:tickLblPos val="nextTo"/>
        <c:crossAx val="131859968"/>
        <c:crosses val="autoZero"/>
        <c:auto val="0"/>
        <c:lblOffset val="100"/>
        <c:baseTimeUnit val="months"/>
        <c:majorUnit val="12"/>
        <c:majorTimeUnit val="months"/>
        <c:minorUnit val="12"/>
        <c:minorTimeUnit val="months"/>
      </c:dateAx>
      <c:valAx>
        <c:axId val="131859968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131858432"/>
        <c:crossesAt val="44196"/>
        <c:crossBetween val="midCat"/>
      </c:valAx>
      <c:spPr>
        <a:noFill/>
        <a:ln w="25410">
          <a:noFill/>
        </a:ln>
      </c:spPr>
    </c:plotArea>
    <c:plotVisOnly val="1"/>
    <c:dispBlanksAs val="zero"/>
    <c:showDLblsOverMax val="0"/>
  </c:chart>
  <c:txPr>
    <a:bodyPr/>
    <a:lstStyle/>
    <a:p>
      <a:pPr>
        <a:defRPr sz="12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EB7CC2-F831-42F5-8F8E-AB5784777198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FA917D7-C3EC-4FD0-B8AF-4A9552AAF581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600" b="1" dirty="0" smtClean="0">
              <a:solidFill>
                <a:schemeClr val="bg1"/>
              </a:solidFill>
            </a:rPr>
            <a:t>Профилактика</a:t>
          </a:r>
          <a:endParaRPr lang="ru-RU" sz="1600" b="1" dirty="0">
            <a:solidFill>
              <a:schemeClr val="bg1"/>
            </a:solidFill>
          </a:endParaRPr>
        </a:p>
      </dgm:t>
    </dgm:pt>
    <dgm:pt modelId="{4E18802E-8976-4EE3-B0F3-B2CE27EB30B9}" type="parTrans" cxnId="{CEC19DFC-0202-43FE-9E9B-08A16641FD60}">
      <dgm:prSet/>
      <dgm:spPr/>
      <dgm:t>
        <a:bodyPr/>
        <a:lstStyle/>
        <a:p>
          <a:endParaRPr lang="ru-RU"/>
        </a:p>
      </dgm:t>
    </dgm:pt>
    <dgm:pt modelId="{34860FFF-84A9-4452-9EBF-B87E3B83F292}" type="sibTrans" cxnId="{CEC19DFC-0202-43FE-9E9B-08A16641FD60}">
      <dgm:prSet/>
      <dgm:spPr/>
      <dgm:t>
        <a:bodyPr/>
        <a:lstStyle/>
        <a:p>
          <a:endParaRPr lang="ru-RU"/>
        </a:p>
      </dgm:t>
    </dgm:pt>
    <dgm:pt modelId="{CE22E949-3726-461C-A3FB-6C62ECAF5E36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100" b="1" dirty="0" err="1" smtClean="0"/>
            <a:t>Информиро-вание</a:t>
          </a:r>
          <a:endParaRPr lang="ru-RU" sz="1100" b="1" dirty="0"/>
        </a:p>
      </dgm:t>
    </dgm:pt>
    <dgm:pt modelId="{D1254252-2549-41FD-906D-85122BEC7EC1}" type="parTrans" cxnId="{EC4F9AFD-BD03-4389-9126-A2FE1DCB3638}">
      <dgm:prSet/>
      <dgm:spPr/>
      <dgm:t>
        <a:bodyPr/>
        <a:lstStyle/>
        <a:p>
          <a:endParaRPr lang="ru-RU"/>
        </a:p>
      </dgm:t>
    </dgm:pt>
    <dgm:pt modelId="{DE81B880-25D0-45E5-A8BE-2CAC9C3CACB1}" type="sibTrans" cxnId="{EC4F9AFD-BD03-4389-9126-A2FE1DCB3638}">
      <dgm:prSet/>
      <dgm:spPr/>
      <dgm:t>
        <a:bodyPr/>
        <a:lstStyle/>
        <a:p>
          <a:endParaRPr lang="ru-RU"/>
        </a:p>
      </dgm:t>
    </dgm:pt>
    <dgm:pt modelId="{EB904347-439C-43ED-9751-BD5DD593C0A7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100" dirty="0" err="1" smtClean="0"/>
            <a:t>Консультирова-ние</a:t>
          </a:r>
          <a:endParaRPr lang="ru-RU" sz="1100" dirty="0"/>
        </a:p>
      </dgm:t>
    </dgm:pt>
    <dgm:pt modelId="{9F63BA57-13AD-4CA9-9E46-9EAA0CBFB73E}" type="parTrans" cxnId="{0DF7E424-2801-475B-B8C5-5C10E9815857}">
      <dgm:prSet/>
      <dgm:spPr/>
      <dgm:t>
        <a:bodyPr/>
        <a:lstStyle/>
        <a:p>
          <a:endParaRPr lang="ru-RU"/>
        </a:p>
      </dgm:t>
    </dgm:pt>
    <dgm:pt modelId="{B65294B7-D8FE-4912-B455-7547278EEF49}" type="sibTrans" cxnId="{0DF7E424-2801-475B-B8C5-5C10E9815857}">
      <dgm:prSet/>
      <dgm:spPr/>
      <dgm:t>
        <a:bodyPr/>
        <a:lstStyle/>
        <a:p>
          <a:endParaRPr lang="ru-RU"/>
        </a:p>
      </dgm:t>
    </dgm:pt>
    <dgm:pt modelId="{2252D496-76CA-4569-945B-93AFF4947658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100" dirty="0" smtClean="0"/>
            <a:t>Объявление предостережения</a:t>
          </a:r>
          <a:endParaRPr lang="ru-RU" sz="1100" dirty="0"/>
        </a:p>
      </dgm:t>
    </dgm:pt>
    <dgm:pt modelId="{D8645D4F-A849-491F-957B-E2203351BA30}" type="parTrans" cxnId="{F44014BD-68CF-4369-9A36-C8EF542CA9ED}">
      <dgm:prSet/>
      <dgm:spPr/>
      <dgm:t>
        <a:bodyPr/>
        <a:lstStyle/>
        <a:p>
          <a:endParaRPr lang="ru-RU"/>
        </a:p>
      </dgm:t>
    </dgm:pt>
    <dgm:pt modelId="{3380E5A2-5E54-4730-9F5F-4105C5671158}" type="sibTrans" cxnId="{F44014BD-68CF-4369-9A36-C8EF542CA9ED}">
      <dgm:prSet/>
      <dgm:spPr/>
      <dgm:t>
        <a:bodyPr/>
        <a:lstStyle/>
        <a:p>
          <a:endParaRPr lang="ru-RU"/>
        </a:p>
      </dgm:t>
    </dgm:pt>
    <dgm:pt modelId="{45D36C62-8348-4571-8AAF-F2B9E23CA00E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100" dirty="0" smtClean="0"/>
            <a:t>Обобщение </a:t>
          </a:r>
          <a:r>
            <a:rPr lang="ru-RU" sz="1100" dirty="0" err="1" smtClean="0"/>
            <a:t>правопримени</a:t>
          </a:r>
          <a:r>
            <a:rPr lang="ru-RU" sz="1100" dirty="0" smtClean="0"/>
            <a:t>-тельной практики</a:t>
          </a:r>
          <a:endParaRPr lang="ru-RU" sz="1100" dirty="0"/>
        </a:p>
      </dgm:t>
    </dgm:pt>
    <dgm:pt modelId="{775BEC59-049A-4069-A6A6-EF92D1442517}" type="parTrans" cxnId="{72AC136B-326C-4E26-87E8-79C321705702}">
      <dgm:prSet/>
      <dgm:spPr/>
      <dgm:t>
        <a:bodyPr/>
        <a:lstStyle/>
        <a:p>
          <a:endParaRPr lang="ru-RU"/>
        </a:p>
      </dgm:t>
    </dgm:pt>
    <dgm:pt modelId="{BDBF0A96-016B-4EED-9BAF-F4BB2664A399}" type="sibTrans" cxnId="{72AC136B-326C-4E26-87E8-79C321705702}">
      <dgm:prSet/>
      <dgm:spPr/>
      <dgm:t>
        <a:bodyPr/>
        <a:lstStyle/>
        <a:p>
          <a:endParaRPr lang="ru-RU"/>
        </a:p>
      </dgm:t>
    </dgm:pt>
    <dgm:pt modelId="{F2BE9E28-0D1B-4FC8-8D7D-9B5EC0B941D9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100" dirty="0" smtClean="0"/>
            <a:t>Меры стимулирования добросовестности</a:t>
          </a:r>
          <a:endParaRPr lang="ru-RU" sz="1100" dirty="0"/>
        </a:p>
      </dgm:t>
    </dgm:pt>
    <dgm:pt modelId="{83562C2A-5B95-4C77-8906-001649AC1B5C}" type="parTrans" cxnId="{F913EC93-CAFA-46A7-86FC-4D6CFD6C7A56}">
      <dgm:prSet/>
      <dgm:spPr/>
      <dgm:t>
        <a:bodyPr/>
        <a:lstStyle/>
        <a:p>
          <a:endParaRPr lang="ru-RU"/>
        </a:p>
      </dgm:t>
    </dgm:pt>
    <dgm:pt modelId="{2A438580-F365-4B4C-BBA7-5259920B35E1}" type="sibTrans" cxnId="{F913EC93-CAFA-46A7-86FC-4D6CFD6C7A56}">
      <dgm:prSet/>
      <dgm:spPr/>
      <dgm:t>
        <a:bodyPr/>
        <a:lstStyle/>
        <a:p>
          <a:endParaRPr lang="ru-RU"/>
        </a:p>
      </dgm:t>
    </dgm:pt>
    <dgm:pt modelId="{BDBF50DB-C354-4BE4-849D-08F953069187}" type="pres">
      <dgm:prSet presAssocID="{D4EB7CC2-F831-42F5-8F8E-AB5784777198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F299EC9-ED3A-4A78-9C42-552F46E45FF4}" type="pres">
      <dgm:prSet presAssocID="{D4EB7CC2-F831-42F5-8F8E-AB5784777198}" presName="radial" presStyleCnt="0">
        <dgm:presLayoutVars>
          <dgm:animLvl val="ctr"/>
        </dgm:presLayoutVars>
      </dgm:prSet>
      <dgm:spPr/>
    </dgm:pt>
    <dgm:pt modelId="{0C7151CD-FD1F-4A67-96C0-73158595C222}" type="pres">
      <dgm:prSet presAssocID="{6FA917D7-C3EC-4FD0-B8AF-4A9552AAF581}" presName="centerShape" presStyleLbl="vennNode1" presStyleIdx="0" presStyleCnt="6" custLinFactNeighborX="-1914" custLinFactNeighborY="8357"/>
      <dgm:spPr/>
      <dgm:t>
        <a:bodyPr/>
        <a:lstStyle/>
        <a:p>
          <a:endParaRPr lang="ru-RU"/>
        </a:p>
      </dgm:t>
    </dgm:pt>
    <dgm:pt modelId="{825E1486-B3C6-44E5-AF9E-DB8C1B5870FB}" type="pres">
      <dgm:prSet presAssocID="{CE22E949-3726-461C-A3FB-6C62ECAF5E36}" presName="node" presStyleLbl="vennNode1" presStyleIdx="1" presStyleCnt="6" custScaleX="130209" custScaleY="93489" custRadScaleRad="8506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DF1EE92-BF7C-4E33-8567-FFF3D8B8412C}" type="pres">
      <dgm:prSet presAssocID="{EB904347-439C-43ED-9751-BD5DD593C0A7}" presName="node" presStyleLbl="vennNode1" presStyleIdx="2" presStyleCnt="6" custScaleX="134541" custScaleY="99509" custRadScaleRad="96436" custRadScaleInc="117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0B3AB-5A2D-49F3-94B6-98A2A7AB498E}" type="pres">
      <dgm:prSet presAssocID="{2252D496-76CA-4569-945B-93AFF4947658}" presName="node" presStyleLbl="vennNode1" presStyleIdx="3" presStyleCnt="6" custScaleX="171898" custScaleY="102575" custRadScaleRad="111799" custRadScaleInc="-96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0DC8CC-8880-42E3-94B9-2248F5892A3B}" type="pres">
      <dgm:prSet presAssocID="{F2BE9E28-0D1B-4FC8-8D7D-9B5EC0B941D9}" presName="node" presStyleLbl="vennNode1" presStyleIdx="4" presStyleCnt="6" custScaleX="153574" custScaleY="99048" custRadScaleRad="110758" custRadScaleInc="100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532ADE-8D2B-4DB7-94E8-2A5EF5C5B078}" type="pres">
      <dgm:prSet presAssocID="{45D36C62-8348-4571-8AAF-F2B9E23CA00E}" presName="node" presStyleLbl="vennNode1" presStyleIdx="5" presStyleCnt="6" custScaleX="140927" custScaleY="113304" custRadScaleRad="96436" custRadScaleInc="-117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44014BD-68CF-4369-9A36-C8EF542CA9ED}" srcId="{6FA917D7-C3EC-4FD0-B8AF-4A9552AAF581}" destId="{2252D496-76CA-4569-945B-93AFF4947658}" srcOrd="2" destOrd="0" parTransId="{D8645D4F-A849-491F-957B-E2203351BA30}" sibTransId="{3380E5A2-5E54-4730-9F5F-4105C5671158}"/>
    <dgm:cxn modelId="{CCD1072A-7370-454C-B2EC-B80B629B6677}" type="presOf" srcId="{D4EB7CC2-F831-42F5-8F8E-AB5784777198}" destId="{BDBF50DB-C354-4BE4-849D-08F953069187}" srcOrd="0" destOrd="0" presId="urn:microsoft.com/office/officeart/2005/8/layout/radial3"/>
    <dgm:cxn modelId="{EC4F9AFD-BD03-4389-9126-A2FE1DCB3638}" srcId="{6FA917D7-C3EC-4FD0-B8AF-4A9552AAF581}" destId="{CE22E949-3726-461C-A3FB-6C62ECAF5E36}" srcOrd="0" destOrd="0" parTransId="{D1254252-2549-41FD-906D-85122BEC7EC1}" sibTransId="{DE81B880-25D0-45E5-A8BE-2CAC9C3CACB1}"/>
    <dgm:cxn modelId="{CEC19DFC-0202-43FE-9E9B-08A16641FD60}" srcId="{D4EB7CC2-F831-42F5-8F8E-AB5784777198}" destId="{6FA917D7-C3EC-4FD0-B8AF-4A9552AAF581}" srcOrd="0" destOrd="0" parTransId="{4E18802E-8976-4EE3-B0F3-B2CE27EB30B9}" sibTransId="{34860FFF-84A9-4452-9EBF-B87E3B83F292}"/>
    <dgm:cxn modelId="{B7484174-44B8-418C-B85B-AF4E54E189D4}" type="presOf" srcId="{F2BE9E28-0D1B-4FC8-8D7D-9B5EC0B941D9}" destId="{EB0DC8CC-8880-42E3-94B9-2248F5892A3B}" srcOrd="0" destOrd="0" presId="urn:microsoft.com/office/officeart/2005/8/layout/radial3"/>
    <dgm:cxn modelId="{72AC136B-326C-4E26-87E8-79C321705702}" srcId="{6FA917D7-C3EC-4FD0-B8AF-4A9552AAF581}" destId="{45D36C62-8348-4571-8AAF-F2B9E23CA00E}" srcOrd="4" destOrd="0" parTransId="{775BEC59-049A-4069-A6A6-EF92D1442517}" sibTransId="{BDBF0A96-016B-4EED-9BAF-F4BB2664A399}"/>
    <dgm:cxn modelId="{CBEA9E76-282A-4472-B9D9-B0E31414FEDA}" type="presOf" srcId="{6FA917D7-C3EC-4FD0-B8AF-4A9552AAF581}" destId="{0C7151CD-FD1F-4A67-96C0-73158595C222}" srcOrd="0" destOrd="0" presId="urn:microsoft.com/office/officeart/2005/8/layout/radial3"/>
    <dgm:cxn modelId="{8DE9216D-2947-41BC-A1B9-CCFF28AA8C7F}" type="presOf" srcId="{45D36C62-8348-4571-8AAF-F2B9E23CA00E}" destId="{5B532ADE-8D2B-4DB7-94E8-2A5EF5C5B078}" srcOrd="0" destOrd="0" presId="urn:microsoft.com/office/officeart/2005/8/layout/radial3"/>
    <dgm:cxn modelId="{933701A8-20A4-4153-96F8-BB45F87D80A0}" type="presOf" srcId="{2252D496-76CA-4569-945B-93AFF4947658}" destId="{C2C0B3AB-5A2D-49F3-94B6-98A2A7AB498E}" srcOrd="0" destOrd="0" presId="urn:microsoft.com/office/officeart/2005/8/layout/radial3"/>
    <dgm:cxn modelId="{3256C68A-AB69-4644-AF74-8132A8EA967C}" type="presOf" srcId="{EB904347-439C-43ED-9751-BD5DD593C0A7}" destId="{4DF1EE92-BF7C-4E33-8567-FFF3D8B8412C}" srcOrd="0" destOrd="0" presId="urn:microsoft.com/office/officeart/2005/8/layout/radial3"/>
    <dgm:cxn modelId="{0DF7E424-2801-475B-B8C5-5C10E9815857}" srcId="{6FA917D7-C3EC-4FD0-B8AF-4A9552AAF581}" destId="{EB904347-439C-43ED-9751-BD5DD593C0A7}" srcOrd="1" destOrd="0" parTransId="{9F63BA57-13AD-4CA9-9E46-9EAA0CBFB73E}" sibTransId="{B65294B7-D8FE-4912-B455-7547278EEF49}"/>
    <dgm:cxn modelId="{F913EC93-CAFA-46A7-86FC-4D6CFD6C7A56}" srcId="{6FA917D7-C3EC-4FD0-B8AF-4A9552AAF581}" destId="{F2BE9E28-0D1B-4FC8-8D7D-9B5EC0B941D9}" srcOrd="3" destOrd="0" parTransId="{83562C2A-5B95-4C77-8906-001649AC1B5C}" sibTransId="{2A438580-F365-4B4C-BBA7-5259920B35E1}"/>
    <dgm:cxn modelId="{4495F2D5-CA82-4D77-B82A-C3B179639630}" type="presOf" srcId="{CE22E949-3726-461C-A3FB-6C62ECAF5E36}" destId="{825E1486-B3C6-44E5-AF9E-DB8C1B5870FB}" srcOrd="0" destOrd="0" presId="urn:microsoft.com/office/officeart/2005/8/layout/radial3"/>
    <dgm:cxn modelId="{4FA20C7B-4516-4B01-9AF5-59F1A342F696}" type="presParOf" srcId="{BDBF50DB-C354-4BE4-849D-08F953069187}" destId="{9F299EC9-ED3A-4A78-9C42-552F46E45FF4}" srcOrd="0" destOrd="0" presId="urn:microsoft.com/office/officeart/2005/8/layout/radial3"/>
    <dgm:cxn modelId="{07ABEFC5-4CB3-4295-A93E-C748538DDCAB}" type="presParOf" srcId="{9F299EC9-ED3A-4A78-9C42-552F46E45FF4}" destId="{0C7151CD-FD1F-4A67-96C0-73158595C222}" srcOrd="0" destOrd="0" presId="urn:microsoft.com/office/officeart/2005/8/layout/radial3"/>
    <dgm:cxn modelId="{28D01170-F55D-4260-B776-72D0309D6669}" type="presParOf" srcId="{9F299EC9-ED3A-4A78-9C42-552F46E45FF4}" destId="{825E1486-B3C6-44E5-AF9E-DB8C1B5870FB}" srcOrd="1" destOrd="0" presId="urn:microsoft.com/office/officeart/2005/8/layout/radial3"/>
    <dgm:cxn modelId="{1C952660-4A79-46B1-B959-BA98C0C06D25}" type="presParOf" srcId="{9F299EC9-ED3A-4A78-9C42-552F46E45FF4}" destId="{4DF1EE92-BF7C-4E33-8567-FFF3D8B8412C}" srcOrd="2" destOrd="0" presId="urn:microsoft.com/office/officeart/2005/8/layout/radial3"/>
    <dgm:cxn modelId="{ECBEC90A-9984-4BE0-B024-1130DC88B91A}" type="presParOf" srcId="{9F299EC9-ED3A-4A78-9C42-552F46E45FF4}" destId="{C2C0B3AB-5A2D-49F3-94B6-98A2A7AB498E}" srcOrd="3" destOrd="0" presId="urn:microsoft.com/office/officeart/2005/8/layout/radial3"/>
    <dgm:cxn modelId="{4BAB819D-9D9D-4CD6-B270-9CE21C962D1C}" type="presParOf" srcId="{9F299EC9-ED3A-4A78-9C42-552F46E45FF4}" destId="{EB0DC8CC-8880-42E3-94B9-2248F5892A3B}" srcOrd="4" destOrd="0" presId="urn:microsoft.com/office/officeart/2005/8/layout/radial3"/>
    <dgm:cxn modelId="{1D651379-9778-4363-853E-0B797BD597A2}" type="presParOf" srcId="{9F299EC9-ED3A-4A78-9C42-552F46E45FF4}" destId="{5B532ADE-8D2B-4DB7-94E8-2A5EF5C5B078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7151CD-FD1F-4A67-96C0-73158595C222}">
      <dsp:nvSpPr>
        <dsp:cNvPr id="0" name=""/>
        <dsp:cNvSpPr/>
      </dsp:nvSpPr>
      <dsp:spPr>
        <a:xfrm>
          <a:off x="1672848" y="1104035"/>
          <a:ext cx="2087954" cy="2087954"/>
        </a:xfrm>
        <a:prstGeom prst="ellipse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bg1"/>
              </a:solidFill>
            </a:rPr>
            <a:t>Профилактика</a:t>
          </a:r>
          <a:endParaRPr lang="ru-RU" sz="1600" b="1" kern="1200" dirty="0">
            <a:solidFill>
              <a:schemeClr val="bg1"/>
            </a:solidFill>
          </a:endParaRPr>
        </a:p>
      </dsp:txBody>
      <dsp:txXfrm>
        <a:off x="1978622" y="1409809"/>
        <a:ext cx="1476406" cy="1476406"/>
      </dsp:txXfrm>
    </dsp:sp>
    <dsp:sp modelId="{825E1486-B3C6-44E5-AF9E-DB8C1B5870FB}">
      <dsp:nvSpPr>
        <dsp:cNvPr id="0" name=""/>
        <dsp:cNvSpPr/>
      </dsp:nvSpPr>
      <dsp:spPr>
        <a:xfrm>
          <a:off x="2089145" y="277620"/>
          <a:ext cx="1359352" cy="976003"/>
        </a:xfrm>
        <a:prstGeom prst="ellipse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err="1" smtClean="0"/>
            <a:t>Информиро-вание</a:t>
          </a:r>
          <a:endParaRPr lang="ru-RU" sz="1100" b="1" kern="1200" dirty="0"/>
        </a:p>
      </dsp:txBody>
      <dsp:txXfrm>
        <a:off x="2288217" y="420552"/>
        <a:ext cx="961208" cy="690139"/>
      </dsp:txXfrm>
    </dsp:sp>
    <dsp:sp modelId="{4DF1EE92-BF7C-4E33-8567-FFF3D8B8412C}">
      <dsp:nvSpPr>
        <dsp:cNvPr id="0" name=""/>
        <dsp:cNvSpPr/>
      </dsp:nvSpPr>
      <dsp:spPr>
        <a:xfrm>
          <a:off x="3358351" y="1184758"/>
          <a:ext cx="1404577" cy="1038851"/>
        </a:xfrm>
        <a:prstGeom prst="ellipse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err="1" smtClean="0"/>
            <a:t>Консультирова-ние</a:t>
          </a:r>
          <a:endParaRPr lang="ru-RU" sz="1100" kern="1200" dirty="0"/>
        </a:p>
      </dsp:txBody>
      <dsp:txXfrm>
        <a:off x="3564047" y="1336894"/>
        <a:ext cx="993185" cy="734579"/>
      </dsp:txXfrm>
    </dsp:sp>
    <dsp:sp modelId="{C2C0B3AB-5A2D-49F3-94B6-98A2A7AB498E}">
      <dsp:nvSpPr>
        <dsp:cNvPr id="0" name=""/>
        <dsp:cNvSpPr/>
      </dsp:nvSpPr>
      <dsp:spPr>
        <a:xfrm>
          <a:off x="2906459" y="2496841"/>
          <a:ext cx="1794575" cy="1070859"/>
        </a:xfrm>
        <a:prstGeom prst="ellipse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Объявление предостережения</a:t>
          </a:r>
          <a:endParaRPr lang="ru-RU" sz="1100" kern="1200" dirty="0"/>
        </a:p>
      </dsp:txBody>
      <dsp:txXfrm>
        <a:off x="3169268" y="2653665"/>
        <a:ext cx="1268957" cy="757211"/>
      </dsp:txXfrm>
    </dsp:sp>
    <dsp:sp modelId="{EB0DC8CC-8880-42E3-94B9-2248F5892A3B}">
      <dsp:nvSpPr>
        <dsp:cNvPr id="0" name=""/>
        <dsp:cNvSpPr/>
      </dsp:nvSpPr>
      <dsp:spPr>
        <a:xfrm>
          <a:off x="936110" y="2499490"/>
          <a:ext cx="1603277" cy="1034038"/>
        </a:xfrm>
        <a:prstGeom prst="ellipse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Меры стимулирования добросовестности</a:t>
          </a:r>
          <a:endParaRPr lang="ru-RU" sz="1100" kern="1200" dirty="0"/>
        </a:p>
      </dsp:txBody>
      <dsp:txXfrm>
        <a:off x="1170904" y="2650921"/>
        <a:ext cx="1133689" cy="731176"/>
      </dsp:txXfrm>
    </dsp:sp>
    <dsp:sp modelId="{5B532ADE-8D2B-4DB7-94E8-2A5EF5C5B078}">
      <dsp:nvSpPr>
        <dsp:cNvPr id="0" name=""/>
        <dsp:cNvSpPr/>
      </dsp:nvSpPr>
      <dsp:spPr>
        <a:xfrm>
          <a:off x="741380" y="1112750"/>
          <a:ext cx="1471245" cy="1182867"/>
        </a:xfrm>
        <a:prstGeom prst="ellipse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Обобщение </a:t>
          </a:r>
          <a:r>
            <a:rPr lang="ru-RU" sz="1100" kern="1200" dirty="0" err="1" smtClean="0"/>
            <a:t>правопримени</a:t>
          </a:r>
          <a:r>
            <a:rPr lang="ru-RU" sz="1100" kern="1200" dirty="0" smtClean="0"/>
            <a:t>-тельной практики</a:t>
          </a:r>
          <a:endParaRPr lang="ru-RU" sz="1100" kern="1200" dirty="0"/>
        </a:p>
      </dsp:txBody>
      <dsp:txXfrm>
        <a:off x="956839" y="1285977"/>
        <a:ext cx="1040327" cy="8364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25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44525" y="744538"/>
            <a:ext cx="538162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750" y="4716463"/>
            <a:ext cx="5337175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358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58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25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ADA844-4350-45FA-B336-1B2A0CE074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6318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47700" y="742950"/>
            <a:ext cx="5378450" cy="3724275"/>
          </a:xfrm>
          <a:ln/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46113" y="744538"/>
            <a:ext cx="5378450" cy="3724275"/>
          </a:xfrm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245" tIns="46122" rIns="92245" bIns="46122"/>
          <a:lstStyle/>
          <a:p>
            <a:pPr eaLnBrk="1" hangingPunct="1"/>
            <a:endParaRPr lang="ru-RU" altLang="ru-RU" smtClean="0"/>
          </a:p>
        </p:txBody>
      </p:sp>
      <p:sp>
        <p:nvSpPr>
          <p:cNvPr id="20484" name="Верхний колонтитул 4"/>
          <p:cNvSpPr txBox="1">
            <a:spLocks noGrp="1"/>
          </p:cNvSpPr>
          <p:nvPr/>
        </p:nvSpPr>
        <p:spPr bwMode="auto">
          <a:xfrm>
            <a:off x="0" y="0"/>
            <a:ext cx="288925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245" tIns="46122" rIns="92245" bIns="46122"/>
          <a:lstStyle>
            <a:lvl1pPr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46113" y="744538"/>
            <a:ext cx="5378450" cy="3724275"/>
          </a:xfrm>
          <a:ln/>
        </p:spPr>
      </p:sp>
      <p:sp>
        <p:nvSpPr>
          <p:cNvPr id="2150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/>
          </a:p>
        </p:txBody>
      </p:sp>
      <p:sp>
        <p:nvSpPr>
          <p:cNvPr id="21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F578E96-38F8-4AE2-9C5F-D445769451EB}" type="slidenum">
              <a:rPr lang="ru-RU" smtClean="0"/>
              <a:pPr eaLnBrk="1" hangingPunct="1"/>
              <a:t>5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46113" y="744538"/>
            <a:ext cx="5378450" cy="3724275"/>
          </a:xfrm>
          <a:ln/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245" tIns="46122" rIns="92245" bIns="46122"/>
          <a:lstStyle/>
          <a:p>
            <a:pPr eaLnBrk="1" hangingPunct="1"/>
            <a:endParaRPr lang="ru-RU" altLang="ru-RU" smtClean="0"/>
          </a:p>
        </p:txBody>
      </p:sp>
      <p:sp>
        <p:nvSpPr>
          <p:cNvPr id="22532" name="Верхний колонтитул 4"/>
          <p:cNvSpPr txBox="1">
            <a:spLocks noGrp="1"/>
          </p:cNvSpPr>
          <p:nvPr/>
        </p:nvSpPr>
        <p:spPr bwMode="auto">
          <a:xfrm>
            <a:off x="0" y="0"/>
            <a:ext cx="288925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245" tIns="46122" rIns="92245" bIns="46122"/>
          <a:lstStyle>
            <a:lvl1pPr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8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 sz="12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46113" y="744538"/>
            <a:ext cx="5378450" cy="3724275"/>
          </a:xfrm>
          <a:ln/>
        </p:spPr>
      </p:sp>
      <p:sp>
        <p:nvSpPr>
          <p:cNvPr id="2355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2355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51B17540-A1E6-4FD5-85F1-DAF4D09240ED}" type="slidenum">
              <a:rPr lang="ru-RU" altLang="ru-RU" smtClean="0"/>
              <a:pPr eaLnBrk="1" hangingPunct="1"/>
              <a:t>10</a:t>
            </a:fld>
            <a:endParaRPr lang="ru-RU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C2A84D-9DCF-4878-ACA2-92807E7193F1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29E2E9-09AA-49BF-83DC-0C4D0C9106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13634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42F656-0564-457B-8B72-3A3CE332FB23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3E5DA1-D3D0-410B-B617-D44EF2062B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70691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ED772E-319B-4047-81F5-DA374CF80948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1528AE-475B-46A0-8DF2-D1F5BF8F30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8962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C09AD6-4376-482E-A278-91BB55FA51C4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0C410D-8E54-4864-8188-766A7673AB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73299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2A7E74-3F66-4C33-B22F-CE13D8915313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70CE28-64CA-424D-B753-B9F0D464F6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2962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C6D3F-2260-474F-8ECD-28BB4589996B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00A0AC-9E55-4161-81C7-7E3E9E9E46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4848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A2AD4-C1F0-4F46-983B-A270B940786C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E3F5DB-1571-4581-9A53-89C5A23F28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7098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AD76C1-5DC4-40FF-A6AC-BF35E18B9147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2E255A-B867-44DC-82A2-33C249588C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0242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79AA4-85DF-4A84-836B-27929CD99F07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0D0029-EE99-4C48-9A9E-84E8239430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1964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E3E839-A6A6-4DF3-85A2-724470B7CED5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19389B-DC25-4E30-A119-B45B3D1DF4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2570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AA112-75FC-4396-A914-E4F94284727A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811FE1-7200-4871-82EE-6982200743A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5446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5380307F-C8E8-4875-A1DD-B6A8A18F9E4B}" type="datetime1">
              <a:rPr lang="ru-RU"/>
              <a:pPr>
                <a:defRPr/>
              </a:pPr>
              <a:t>25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08E6C49-1035-4DB8-ACF1-B48B97BFA3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image" Target="../media/image2.png"/><Relationship Id="rId7" Type="http://schemas.openxmlformats.org/officeDocument/2006/relationships/diagramData" Target="../diagrams/data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microsoft.com/office/2007/relationships/diagramDrawing" Target="../diagrams/drawing1.xml"/><Relationship Id="rId5" Type="http://schemas.openxmlformats.org/officeDocument/2006/relationships/image" Target="../media/image5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4.png"/><Relationship Id="rId9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052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273050" y="5516563"/>
            <a:ext cx="9150350" cy="1081087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Докладчик: заместитель руководителя Сибирского управления Ростехнадзора  Колегов Дмитрий Валерьевич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2054" name="Picture 41" descr="fsetan_emblema200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7675" y="98425"/>
            <a:ext cx="1412875" cy="146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5" name="Прямоугольник 1"/>
          <p:cNvSpPr>
            <a:spLocks noChangeArrowheads="1"/>
          </p:cNvSpPr>
          <p:nvPr/>
        </p:nvSpPr>
        <p:spPr bwMode="auto">
          <a:xfrm>
            <a:off x="5670550" y="568325"/>
            <a:ext cx="3962400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>
              <a:lnSpc>
                <a:spcPct val="80000"/>
              </a:lnSpc>
            </a:pPr>
            <a:endParaRPr lang="ru-RU" sz="1600">
              <a:latin typeface="Cambria" pitchFamily="18" charset="0"/>
            </a:endParaRPr>
          </a:p>
          <a:p>
            <a:pPr algn="r">
              <a:lnSpc>
                <a:spcPct val="80000"/>
              </a:lnSpc>
            </a:pPr>
            <a:r>
              <a:rPr lang="ru-RU" sz="1600">
                <a:latin typeface="Cambria" pitchFamily="18" charset="0"/>
              </a:rPr>
              <a:t>Сибирское управление </a:t>
            </a:r>
          </a:p>
          <a:p>
            <a:pPr algn="r">
              <a:lnSpc>
                <a:spcPct val="80000"/>
              </a:lnSpc>
            </a:pPr>
            <a:r>
              <a:rPr lang="ru-RU" sz="1600">
                <a:latin typeface="Cambria" pitchFamily="18" charset="0"/>
              </a:rPr>
              <a:t>Федеральной службы по </a:t>
            </a:r>
          </a:p>
          <a:p>
            <a:pPr algn="r">
              <a:lnSpc>
                <a:spcPct val="80000"/>
              </a:lnSpc>
            </a:pPr>
            <a:r>
              <a:rPr lang="ru-RU" sz="1600">
                <a:latin typeface="Cambria" pitchFamily="18" charset="0"/>
              </a:rPr>
              <a:t>экологическому, технологическому </a:t>
            </a:r>
          </a:p>
          <a:p>
            <a:pPr algn="r">
              <a:lnSpc>
                <a:spcPct val="80000"/>
              </a:lnSpc>
            </a:pPr>
            <a:r>
              <a:rPr lang="ru-RU" sz="160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2056" name="Группа 34"/>
          <p:cNvGrpSpPr>
            <a:grpSpLocks/>
          </p:cNvGrpSpPr>
          <p:nvPr/>
        </p:nvGrpSpPr>
        <p:grpSpPr bwMode="auto">
          <a:xfrm>
            <a:off x="0" y="366713"/>
            <a:ext cx="8915400" cy="403225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444"/>
              <a:ext cx="9107488" cy="132219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 dirty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232"/>
              <a:ext cx="9107488" cy="132219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 dirty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2219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 dirty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</p:grpSp>
      <p:sp>
        <p:nvSpPr>
          <p:cNvPr id="2057" name="Заголовок 1"/>
          <p:cNvSpPr>
            <a:spLocks/>
          </p:cNvSpPr>
          <p:nvPr/>
        </p:nvSpPr>
        <p:spPr bwMode="auto">
          <a:xfrm>
            <a:off x="0" y="769938"/>
            <a:ext cx="3584575" cy="99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44488" y="2565400"/>
            <a:ext cx="9288462" cy="12001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 подготовке к прохождению весеннего паводка 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6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»</a:t>
            </a:r>
          </a:p>
        </p:txBody>
      </p:sp>
    </p:spTree>
  </p:cSld>
  <p:clrMapOvr>
    <a:masterClrMapping/>
  </p:clrMapOvr>
  <p:transition spd="slow" advClick="0">
    <p:blinds dir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1"/>
          <p:cNvSpPr>
            <a:spLocks noGrp="1"/>
          </p:cNvSpPr>
          <p:nvPr>
            <p:ph type="ctrTitle"/>
          </p:nvPr>
        </p:nvSpPr>
        <p:spPr>
          <a:xfrm>
            <a:off x="742950" y="808038"/>
            <a:ext cx="8420100" cy="892175"/>
          </a:xfrm>
        </p:spPr>
        <p:txBody>
          <a:bodyPr/>
          <a:lstStyle/>
          <a:p>
            <a:pPr eaLnBrk="1" hangingPunct="1"/>
            <a:r>
              <a:rPr lang="ru-RU" altLang="ru-RU" sz="1800" b="1" smtClean="0">
                <a:latin typeface="Times New Roman" pitchFamily="18" charset="0"/>
                <a:cs typeface="Times New Roman" pitchFamily="18" charset="0"/>
              </a:rPr>
              <a:t>Типовые нарушения обязательных требований в области безопасности гидротехнических сооружений, выявляемые в рамках контрольных действий 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624013"/>
            <a:ext cx="9001125" cy="4824412"/>
          </a:xfrm>
        </p:spPr>
        <p:txBody>
          <a:bodyPr rtlCol="0">
            <a:normAutofit/>
          </a:bodyPr>
          <a:lstStyle/>
          <a:p>
            <a:pPr marL="285750" indent="-285750"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ГТС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эксплуатируется без разработанных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струкций по эксплуатации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гидротехнических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оружений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программ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ониторинга безопасности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ГТС;</a:t>
            </a:r>
          </a:p>
          <a:p>
            <a:pPr marL="285750" indent="-285750"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аттестованы по вопросам безопасности гидротехнических сооружений руководители и работники эксплуатирующих организаций в объеме требований к обеспечению безопасности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ГТС;</a:t>
            </a:r>
          </a:p>
          <a:p>
            <a:pPr marL="285750" indent="-285750"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еспечивается техническое обслуживание, эксплуатационный контроль и текущий ремонт ГТС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285750" indent="-285750"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еспечивается контроль (мониторинг) показателей состояния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ГТС, сохранность КИА;</a:t>
            </a:r>
          </a:p>
          <a:p>
            <a:pPr marL="285750" indent="-285750"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бермы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кюветы каналов нерегулярно очищаются от грунта осыпей и выносов, допускается зарастание откосов и гребня грунтовых сооружений деревьями и кустарниками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285750" indent="-285750"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надлежащее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стояние дренажных систем, не проводится оценка фильтрационных расходов; </a:t>
            </a:r>
            <a:endParaRPr lang="ru-RU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ррозия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таллических конструкций механического оборудования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ГТС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eaLnBrk="1" fontAlgn="auto" hangingPunct="1">
              <a:spcAft>
                <a:spcPts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порные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ГТС I-III классов ответственности, находящиеся в эксплуатации более 25 лет,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 подвергаются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мплексному обследованию с оценкой их прочности и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устойчивости.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eaLnBrk="1" fontAlgn="auto" hangingPunct="1">
              <a:spcAft>
                <a:spcPts val="0"/>
              </a:spcAft>
              <a:buFontTx/>
              <a:buChar char="-"/>
              <a:defRPr/>
            </a:pPr>
            <a:endParaRPr 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1268" name="Group 9"/>
          <p:cNvGrpSpPr>
            <a:grpSpLocks/>
          </p:cNvGrpSpPr>
          <p:nvPr/>
        </p:nvGrpSpPr>
        <p:grpSpPr bwMode="auto">
          <a:xfrm>
            <a:off x="0" y="304800"/>
            <a:ext cx="9906000" cy="503238"/>
            <a:chOff x="793" y="164"/>
            <a:chExt cx="4400" cy="408"/>
          </a:xfrm>
        </p:grpSpPr>
        <p:sp>
          <p:nvSpPr>
            <p:cNvPr id="11271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11272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11273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11269" name="Picture 41" descr="fsetan_emblema20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55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0" name="Номер слайда 5"/>
          <p:cNvSpPr txBox="1">
            <a:spLocks noGrp="1"/>
          </p:cNvSpPr>
          <p:nvPr/>
        </p:nvSpPr>
        <p:spPr bwMode="auto">
          <a:xfrm>
            <a:off x="7270750" y="6448425"/>
            <a:ext cx="25050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28DA2DFE-112D-4127-ABFB-0798ED059C17}" type="slidenum">
              <a:rPr lang="ru-RU" altLang="ru-RU" sz="1200">
                <a:latin typeface="Calibri" pitchFamily="34" charset="0"/>
              </a:rPr>
              <a:pPr algn="r" eaLnBrk="1" hangingPunct="1"/>
              <a:t>10</a:t>
            </a:fld>
            <a:endParaRPr lang="ru-RU" altLang="ru-RU" sz="12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7473950" y="6308725"/>
            <a:ext cx="2311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E316013-67CD-4B36-B7F3-8E0755B1DC0F}" type="slidenum">
              <a:rPr lang="ru-RU" altLang="ru-RU" smtClean="0"/>
              <a:pPr eaLnBrk="1" hangingPunct="1"/>
              <a:t>11</a:t>
            </a:fld>
            <a:endParaRPr lang="ru-RU" altLang="ru-RU" smtClean="0"/>
          </a:p>
        </p:txBody>
      </p:sp>
      <p:pic>
        <p:nvPicPr>
          <p:cNvPr id="1331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188913"/>
            <a:ext cx="9907588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  <p:pic>
        <p:nvPicPr>
          <p:cNvPr id="133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3" y="17463"/>
            <a:ext cx="822325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  <p:sp>
        <p:nvSpPr>
          <p:cNvPr id="13317" name="Прямоугольник 2"/>
          <p:cNvSpPr>
            <a:spLocks noChangeArrowheads="1"/>
          </p:cNvSpPr>
          <p:nvPr/>
        </p:nvSpPr>
        <p:spPr bwMode="auto">
          <a:xfrm>
            <a:off x="488950" y="847725"/>
            <a:ext cx="9144000" cy="157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indent="449263" algn="just">
              <a:lnSpc>
                <a:spcPct val="150000"/>
              </a:lnSpc>
            </a:pPr>
            <a:endParaRPr lang="ru-RU" altLang="ru-RU">
              <a:latin typeface="Times New Roman" pitchFamily="18" charset="0"/>
              <a:cs typeface="Times New Roman" pitchFamily="18" charset="0"/>
            </a:endParaRPr>
          </a:p>
          <a:p>
            <a:pPr indent="449263" algn="just">
              <a:lnSpc>
                <a:spcPct val="150000"/>
              </a:lnSpc>
            </a:pPr>
            <a:endParaRPr lang="ru-RU" altLang="ru-RU" sz="1600" b="1">
              <a:latin typeface="Times New Roman" pitchFamily="18" charset="0"/>
              <a:cs typeface="Times New Roman" pitchFamily="18" charset="0"/>
            </a:endParaRPr>
          </a:p>
          <a:p>
            <a:pPr indent="449263" algn="just">
              <a:lnSpc>
                <a:spcPct val="150000"/>
              </a:lnSpc>
            </a:pPr>
            <a:endParaRPr lang="ru-RU" altLang="ru-RU" sz="1600" b="1">
              <a:latin typeface="Times New Roman" pitchFamily="18" charset="0"/>
              <a:cs typeface="Times New Roman" pitchFamily="18" charset="0"/>
            </a:endParaRPr>
          </a:p>
          <a:p>
            <a:pPr indent="449263" algn="just">
              <a:lnSpc>
                <a:spcPct val="150000"/>
              </a:lnSpc>
            </a:pPr>
            <a:endParaRPr lang="ru-RU" altLang="ru-RU" sz="16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318" name="Прямоугольник 1"/>
          <p:cNvSpPr>
            <a:spLocks noChangeArrowheads="1"/>
          </p:cNvSpPr>
          <p:nvPr/>
        </p:nvSpPr>
        <p:spPr bwMode="auto">
          <a:xfrm>
            <a:off x="503238" y="688975"/>
            <a:ext cx="8928100" cy="606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b="1" dirty="0">
                <a:latin typeface="Times New Roman" pitchFamily="18" charset="0"/>
                <a:cs typeface="Times New Roman" pitchFamily="18" charset="0"/>
              </a:rPr>
              <a:t>Превентивные меры по обеспечению безопасного прохождения весеннего паводка </a:t>
            </a:r>
            <a:r>
              <a:rPr lang="ru-RU" altLang="ru-RU" b="1" dirty="0" smtClean="0">
                <a:latin typeface="Times New Roman" pitchFamily="18" charset="0"/>
                <a:cs typeface="Times New Roman" pitchFamily="18" charset="0"/>
              </a:rPr>
              <a:t>2026 </a:t>
            </a:r>
            <a:r>
              <a:rPr lang="ru-RU" altLang="ru-RU" b="1" dirty="0"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pPr algn="just">
              <a:buFontTx/>
              <a:buAutoNum type="arabicPeriod"/>
            </a:pPr>
            <a:r>
              <a:rPr lang="ru-RU" altLang="ru-RU" sz="1600" dirty="0">
                <a:latin typeface="Times New Roman" pitchFamily="18" charset="0"/>
                <a:cs typeface="Times New Roman" pitchFamily="18" charset="0"/>
              </a:rPr>
              <a:t>Запросить прогнозируемые данные по половодью в территориальном органе Росгидромета. С учётом полученных данных, через региональные службы чрезвычайных ситуаций и органы местного самоуправления организовать заблаговременное информирование населения о прогнозируемых сроках начала паводков, планируемых границах затапливаемых территорий нижнего бьефа дамб (плотин), а также зонах затопления водохранилищ, расположенных выше подпорных сооружений, в связи с проведением работ по накоплению и пропуску режимных паводковых расходов воды, границах затопления населенных пунктов в случае аварии на водозащитных сооружениях.</a:t>
            </a:r>
          </a:p>
          <a:p>
            <a:pPr algn="just"/>
            <a:r>
              <a:rPr lang="ru-RU" altLang="ru-RU" sz="1600" dirty="0">
                <a:latin typeface="Times New Roman" pitchFamily="18" charset="0"/>
                <a:cs typeface="Times New Roman" pitchFamily="18" charset="0"/>
              </a:rPr>
              <a:t> 2. Организовать самостоятельные проверки технического состояния эксплуатируемых ГТС и их готовности к приёму и пропуску паводковых вод.</a:t>
            </a:r>
          </a:p>
          <a:p>
            <a:pPr algn="just"/>
            <a:r>
              <a:rPr lang="ru-RU" altLang="ru-RU" sz="1600" dirty="0">
                <a:latin typeface="Times New Roman" pitchFamily="18" charset="0"/>
                <a:cs typeface="Times New Roman" pitchFamily="18" charset="0"/>
              </a:rPr>
              <a:t>3. На основании актов проверок разработать мероприятия по устранению выявленных недостатков, приведению ГТС в готовность к устойчивому функционированию в паводковый период. Определить сроки и ответственных лиц за выполнение мероприятий.</a:t>
            </a:r>
          </a:p>
          <a:p>
            <a:pPr algn="just"/>
            <a:r>
              <a:rPr lang="ru-RU" altLang="ru-RU" sz="1600" dirty="0">
                <a:latin typeface="Times New Roman" pitchFamily="18" charset="0"/>
                <a:cs typeface="Times New Roman" pitchFamily="18" charset="0"/>
              </a:rPr>
              <a:t>4. Специалистов организаций и участников аварийно-спасательных подразделений проинструктировать и обучить производству работ, связанных с выполнением паводковых мероприятий, локализацией и ликвидацией аварий и чрезвычайных ситуаций на ГТС.</a:t>
            </a:r>
          </a:p>
          <a:p>
            <a:pPr algn="just"/>
            <a:r>
              <a:rPr lang="ru-RU" altLang="ru-RU" sz="1600" dirty="0">
                <a:latin typeface="Times New Roman" pitchFamily="18" charset="0"/>
                <a:cs typeface="Times New Roman" pitchFamily="18" charset="0"/>
              </a:rPr>
              <a:t>5. Уточнить и согласовать с дорожными службами предполагаемые места стоянок транспорта и маршруты движения аварийной техники, привлекаемой в состав аварийно-спасательных подразделений. Провести очистку дорог и обеспечить проезд транспортных средств к объектам ГТС.</a:t>
            </a:r>
          </a:p>
          <a:p>
            <a:pPr algn="just"/>
            <a:r>
              <a:rPr lang="ru-RU" altLang="ru-RU" sz="1600" dirty="0">
                <a:latin typeface="Times New Roman" pitchFamily="18" charset="0"/>
                <a:cs typeface="Times New Roman" pitchFamily="18" charset="0"/>
              </a:rPr>
              <a:t>6. Не позднее 15 дней до прогнозируемого начала паводка проверить выполнение запланированных мероприятий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ъект 2"/>
          <p:cNvSpPr>
            <a:spLocks noGrp="1"/>
          </p:cNvSpPr>
          <p:nvPr>
            <p:ph idx="1"/>
          </p:nvPr>
        </p:nvSpPr>
        <p:spPr>
          <a:xfrm>
            <a:off x="560388" y="1196975"/>
            <a:ext cx="8915400" cy="4525963"/>
          </a:xfrm>
        </p:spPr>
        <p:txBody>
          <a:bodyPr/>
          <a:lstStyle/>
          <a:p>
            <a:pPr marL="0" indent="0" algn="just" eaLnBrk="1" hangingPunct="1">
              <a:spcBef>
                <a:spcPct val="0"/>
              </a:spcBef>
              <a:buFont typeface="Arial" charset="0"/>
              <a:buNone/>
            </a:pPr>
            <a:r>
              <a:rPr lang="ru-RU" altLang="ru-RU" sz="160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. На время пикового прохождения паводка организовать круглосуточные наблюдения за режимом уровней воды в ГТС, осадками, смещениями и деформациями сооружений, состоянием водоприёмных и водопропускных сооружений, фильтрационными режимами в основании и теле дамб (плотин), работой дренажных и противофильтрационных устройств, воздействием льда на сооружения и их обледенением.</a:t>
            </a:r>
          </a:p>
          <a:p>
            <a:pPr marL="0" indent="0" algn="just" eaLnBrk="1" hangingPunct="1">
              <a:spcBef>
                <a:spcPct val="0"/>
              </a:spcBef>
              <a:buFont typeface="Arial" charset="0"/>
              <a:buNone/>
            </a:pPr>
            <a:r>
              <a:rPr lang="ru-RU" altLang="ru-RU" sz="160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8. В случае пропуска половодья и паводков, близких к расчетным (5% обеспеченности), по их завершении также провести комиссионный осмотр.</a:t>
            </a:r>
          </a:p>
          <a:p>
            <a:pPr marL="0" indent="0" algn="just" eaLnBrk="1" hangingPunct="1">
              <a:spcBef>
                <a:spcPct val="0"/>
              </a:spcBef>
              <a:buFont typeface="Arial" charset="0"/>
              <a:buNone/>
            </a:pPr>
            <a:endParaRPr lang="ru-RU" altLang="ru-RU" sz="160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 eaLnBrk="1" hangingPunct="1">
              <a:spcBef>
                <a:spcPct val="0"/>
              </a:spcBef>
              <a:buFont typeface="Arial" charset="0"/>
              <a:buNone/>
            </a:pPr>
            <a:endParaRPr lang="ru-RU" altLang="ru-RU" sz="160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 eaLnBrk="1" hangingPunct="1">
              <a:spcBef>
                <a:spcPct val="0"/>
              </a:spcBef>
              <a:buFont typeface="Arial" charset="0"/>
              <a:buNone/>
            </a:pPr>
            <a:r>
              <a:rPr lang="ru-RU" altLang="ru-RU" sz="1600" b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нештатную информацию о возникающих проблемах, связанных с выполнением паводковых мероприятий и обеспечением безопасности ГТС необходимо сообщать незамедлительно:</a:t>
            </a:r>
          </a:p>
          <a:p>
            <a:pPr marL="0" indent="0" algn="ctr" eaLnBrk="1" hangingPunct="1">
              <a:spcBef>
                <a:spcPct val="0"/>
              </a:spcBef>
              <a:buFont typeface="Arial" charset="0"/>
              <a:buNone/>
            </a:pPr>
            <a:endParaRPr lang="ru-RU" altLang="ru-RU" sz="1600" b="1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 eaLnBrk="1" hangingPunct="1">
              <a:spcBef>
                <a:spcPct val="0"/>
              </a:spcBef>
              <a:buFont typeface="Arial" charset="0"/>
              <a:buNone/>
            </a:pPr>
            <a:r>
              <a:rPr lang="ru-RU" altLang="ru-RU" sz="1600" b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ежрегиональный отдел по надзору за гидротехническими сооружениями Управления  </a:t>
            </a:r>
          </a:p>
          <a:p>
            <a:pPr marL="0" indent="0" algn="ctr" eaLnBrk="1" hangingPunct="1">
              <a:spcBef>
                <a:spcPct val="0"/>
              </a:spcBef>
              <a:buFont typeface="Arial" charset="0"/>
              <a:buNone/>
            </a:pPr>
            <a:r>
              <a:rPr lang="ru-RU" altLang="ru-RU" sz="1600" b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в рабочее время) тел. +7 (383) 349-19-23</a:t>
            </a:r>
          </a:p>
          <a:p>
            <a:pPr marL="0" indent="0" algn="ctr" eaLnBrk="1" hangingPunct="1">
              <a:spcBef>
                <a:spcPct val="0"/>
              </a:spcBef>
              <a:buFont typeface="Arial" charset="0"/>
              <a:buNone/>
            </a:pPr>
            <a:endParaRPr lang="ru-RU" altLang="ru-RU" sz="1600" b="1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 eaLnBrk="1" hangingPunct="1">
              <a:spcBef>
                <a:spcPct val="0"/>
              </a:spcBef>
              <a:buFont typeface="Arial" charset="0"/>
              <a:buNone/>
            </a:pPr>
            <a:r>
              <a:rPr lang="ru-RU" altLang="ru-RU" sz="1600" b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перативные дежурные Управления (круглосуточно) тел. +7 (3842) 71-63-03</a:t>
            </a:r>
          </a:p>
          <a:p>
            <a:pPr marL="0" indent="0" algn="just" eaLnBrk="1" hangingPunct="1">
              <a:spcBef>
                <a:spcPct val="0"/>
              </a:spcBef>
              <a:buFont typeface="Arial" charset="0"/>
              <a:buNone/>
            </a:pPr>
            <a:endParaRPr lang="ru-RU" altLang="ru-RU" sz="160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400925" y="6308725"/>
            <a:ext cx="2311400" cy="365125"/>
          </a:xfrm>
        </p:spPr>
        <p:txBody>
          <a:bodyPr/>
          <a:lstStyle/>
          <a:p>
            <a:pPr>
              <a:defRPr/>
            </a:pPr>
            <a:fld id="{C7084040-5106-4D17-8779-A270713141E0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pic>
        <p:nvPicPr>
          <p:cNvPr id="1434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188913"/>
            <a:ext cx="9907588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  <p:pic>
        <p:nvPicPr>
          <p:cNvPr id="1434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3" y="17463"/>
            <a:ext cx="822325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93713" y="681038"/>
            <a:ext cx="8915400" cy="6121400"/>
          </a:xfrm>
        </p:spPr>
        <p:txBody>
          <a:bodyPr/>
          <a:lstStyle/>
          <a:p>
            <a:pPr marL="0" indent="0" algn="ctr">
              <a:buFont typeface="Arial" charset="0"/>
              <a:buNone/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Кемеровская область</a:t>
            </a:r>
          </a:p>
          <a:p>
            <a:pPr algn="just"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ТС комплекса водозащитных дамб города Новокузнецка,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критериев безопасности предупреждающего уровня К1.</a:t>
            </a: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омплекс гидротехнических сооружений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водооградительных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дамб города Междуреченска и района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Чебал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-Су Междуреченского городского округа,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действующая декларация безопасности ГТС отсутствует. </a:t>
            </a: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Защитные сооружения в с.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Ашмарино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на р. Кондома Новокузнецкого муниципальног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круга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превышение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ритериев безопасности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предупреждающего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уровня К1.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Защитная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дамба в с. Сидорово на р. Томь Новокузнецкого муниципального округа,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превышение критериев безопасности предупреждающего уровня К1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Font typeface="Arial" charset="0"/>
              <a:buNone/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Томская область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граждающая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амба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мк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 Пески г. Колпашево,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действующая декларация безопасности ГТС отсутствует. Требуется капитальный ремонт сооружения.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Противопаводковая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дамба, окольцовывающая город Асино (с юга от ул. Воскресенская до слияния на севере с автодорогой Асино-Первомайское). </a:t>
            </a:r>
          </a:p>
          <a:p>
            <a:pPr algn="just">
              <a:defRPr/>
            </a:pP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Противопаводковая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дамба, окольцовывающая по периметру п.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Причулымский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города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син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ействующая декларация безопасности ГТС отсутствует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>
              <a:defRPr/>
            </a:pP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Противопаводковая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дамба, окольцовывающая п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риметру 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Вознесенка города Асино (протяжённостью 2,48 км).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Наблюдается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размыв основания дамбы водами р.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Чулым,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размыв верхового откоса и части гребня дамбы, развиваются процессы снижения прочности и устойчивости ГТС. </a:t>
            </a: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743868-AE71-40DF-851B-8EA85EED4183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pic>
        <p:nvPicPr>
          <p:cNvPr id="1536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188913"/>
            <a:ext cx="9907588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  <p:pic>
        <p:nvPicPr>
          <p:cNvPr id="1536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3" y="17463"/>
            <a:ext cx="822325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93713" y="981074"/>
            <a:ext cx="8915400" cy="5544269"/>
          </a:xfrm>
        </p:spPr>
        <p:txBody>
          <a:bodyPr/>
          <a:lstStyle/>
          <a:p>
            <a:pPr marL="0" indent="0" algn="ctr">
              <a:buFont typeface="Arial" charset="0"/>
              <a:buNone/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Новосибирская область</a:t>
            </a:r>
          </a:p>
          <a:p>
            <a:pPr algn="just"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ТС комплекса инженерной защиты на реке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Омь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города Куйбышева Куйбышевского района Новосибирской области.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ействующая декларация безопасности отсутствует.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Требуется капитальный ремонт сооружения.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одозащитная дамба на р.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Тартас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в с. Северное Северного района Новосибирской области.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ревышение </a:t>
            </a:r>
            <a:r>
              <a:rPr lang="ru-RU" sz="1600" b="1" dirty="0" err="1" smtClean="0">
                <a:latin typeface="Times New Roman" pitchFamily="18" charset="0"/>
                <a:cs typeface="Times New Roman" pitchFamily="18" charset="0"/>
              </a:rPr>
              <a:t>критериальных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значений предельного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уровня. Требуется капитальный ремонт сооружения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одозащитная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амба с. Кыштовка,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чет вреда согласован, преддекларационное обследование проведено.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Требуется капитальный ремонт сооружения.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одозащитная дамба на р.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Тартас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с. Венгерово,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расчет вреда согласован, преддекларационное обследование не проводилось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. Требуется капитальный ремонт сооружения.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одозащитная дамба в с.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брамов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Куйбышевского района Новосибирской области,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чет вреда согласован, преддекларационное обследование проведено. Требуется капитальный ремонт сооружения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0" indent="0" algn="ctr">
              <a:buFont typeface="Arial" charset="0"/>
              <a:buNone/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Алтайский край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граждающая дамба на реке Тальменка в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р.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Тальменка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Тальменского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айона,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не завершена реконструкция,  ГТС не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обеспечивает защиту населения и территории от наводнения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Инженерная защита от наводнений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мкр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Зеленый клин г. Бийска.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В нарушение проектной документации в теле дамбы проложен газопровод высокого давления.</a:t>
            </a: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Font typeface="Arial" charset="0"/>
              <a:buNone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5765039-E424-4559-9F5F-F449997E2DBB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pic>
        <p:nvPicPr>
          <p:cNvPr id="1638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188913"/>
            <a:ext cx="9907588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  <p:pic>
        <p:nvPicPr>
          <p:cNvPr id="1638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3" y="17463"/>
            <a:ext cx="822325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549275"/>
            <a:ext cx="8915400" cy="1143000"/>
          </a:xfrm>
        </p:spPr>
        <p:txBody>
          <a:bodyPr/>
          <a:lstStyle/>
          <a:p>
            <a:pPr eaLnBrk="1" hangingPunct="1"/>
            <a:r>
              <a:rPr lang="ru-RU" altLang="ru-RU" i="1" smtClean="0"/>
              <a:t>Благодарю за внимание!</a:t>
            </a:r>
          </a:p>
        </p:txBody>
      </p:sp>
      <p:sp>
        <p:nvSpPr>
          <p:cNvPr id="17411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7329488" y="6308725"/>
            <a:ext cx="2311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7C5C7EAC-E2E0-4CAF-82A5-9F57C93A8E82}" type="slidenum">
              <a:rPr lang="ru-RU" altLang="ru-RU" smtClean="0"/>
              <a:pPr eaLnBrk="1" hangingPunct="1"/>
              <a:t>15</a:t>
            </a:fld>
            <a:endParaRPr lang="ru-RU" altLang="ru-RU" smtClean="0"/>
          </a:p>
        </p:txBody>
      </p:sp>
      <p:pic>
        <p:nvPicPr>
          <p:cNvPr id="17412" name="Picture 41" descr="fsetan_emblema200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575" y="1700213"/>
            <a:ext cx="2692400" cy="302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4"/>
          <p:cNvSpPr>
            <a:spLocks noGrp="1"/>
          </p:cNvSpPr>
          <p:nvPr>
            <p:ph type="title"/>
          </p:nvPr>
        </p:nvSpPr>
        <p:spPr>
          <a:xfrm>
            <a:off x="344488" y="812800"/>
            <a:ext cx="9396412" cy="671513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latin typeface="Times New Roman" pitchFamily="18" charset="0"/>
                <a:cs typeface="Times New Roman" pitchFamily="18" charset="0"/>
              </a:rPr>
              <a:t>Федеральный государственный</a:t>
            </a:r>
            <a:r>
              <a:rPr lang="ru-RU" altLang="ru-RU" sz="2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b="1" dirty="0" smtClean="0">
                <a:latin typeface="Times New Roman" pitchFamily="18" charset="0"/>
                <a:cs typeface="Times New Roman" pitchFamily="18" charset="0"/>
              </a:rPr>
              <a:t>надзор в области безопасности гидротехнических сооружений</a:t>
            </a:r>
          </a:p>
        </p:txBody>
      </p:sp>
      <p:sp>
        <p:nvSpPr>
          <p:cNvPr id="3075" name="Объект 1"/>
          <p:cNvSpPr>
            <a:spLocks noGrp="1"/>
          </p:cNvSpPr>
          <p:nvPr>
            <p:ph idx="1"/>
          </p:nvPr>
        </p:nvSpPr>
        <p:spPr>
          <a:xfrm>
            <a:off x="196850" y="1492250"/>
            <a:ext cx="9344025" cy="1657350"/>
          </a:xfrm>
        </p:spPr>
        <p:txBody>
          <a:bodyPr/>
          <a:lstStyle/>
          <a:p>
            <a:pPr algn="just" eaLnBrk="1" hangingPunct="1"/>
            <a:r>
              <a:rPr lang="ru-RU" sz="1400" smtClean="0">
                <a:latin typeface="Times New Roman" pitchFamily="18" charset="0"/>
                <a:cs typeface="Times New Roman" pitchFamily="18" charset="0"/>
              </a:rPr>
              <a:t>Федеральный закон от 21.07.1997 № 117-ФЗ "О безопасности гидротехнических сооружений";</a:t>
            </a:r>
          </a:p>
          <a:p>
            <a:pPr algn="just" eaLnBrk="1" hangingPunct="1"/>
            <a:r>
              <a:rPr lang="ru-RU" sz="1400" smtClean="0">
                <a:latin typeface="Times New Roman" pitchFamily="18" charset="0"/>
                <a:cs typeface="Times New Roman" pitchFamily="18" charset="0"/>
              </a:rPr>
              <a:t>Федеральный закон от 27.07.2010 № 225-ФЗ "Об обязательном страховании гражданской ответственности владельца опасного объекта за причинение вреда в результате аварии на опасном объекте";</a:t>
            </a:r>
          </a:p>
          <a:p>
            <a:pPr algn="just" eaLnBrk="1" hangingPunct="1"/>
            <a:r>
              <a:rPr lang="ru-RU" sz="1400" smtClean="0">
                <a:latin typeface="Times New Roman" pitchFamily="18" charset="0"/>
                <a:cs typeface="Times New Roman" pitchFamily="18" charset="0"/>
              </a:rPr>
              <a:t>Федеральный закон  от 30.12.2009 № 384-ФЗ «Технический регламент о безопасности зданий и сооружений»;</a:t>
            </a:r>
          </a:p>
        </p:txBody>
      </p:sp>
      <p:sp>
        <p:nvSpPr>
          <p:cNvPr id="3076" name="Номер слайда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mtClean="0"/>
              <a:t>2</a:t>
            </a:r>
          </a:p>
        </p:txBody>
      </p:sp>
      <p:grpSp>
        <p:nvGrpSpPr>
          <p:cNvPr id="3077" name="Group 9"/>
          <p:cNvGrpSpPr>
            <a:grpSpLocks/>
          </p:cNvGrpSpPr>
          <p:nvPr/>
        </p:nvGrpSpPr>
        <p:grpSpPr bwMode="auto">
          <a:xfrm>
            <a:off x="0" y="304800"/>
            <a:ext cx="9906000" cy="503238"/>
            <a:chOff x="793" y="164"/>
            <a:chExt cx="4400" cy="408"/>
          </a:xfrm>
        </p:grpSpPr>
        <p:sp>
          <p:nvSpPr>
            <p:cNvPr id="3081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3082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3083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3078" name="Picture 41" descr="fsetan_emblema200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55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9" name="Объект 1"/>
          <p:cNvSpPr txBox="1">
            <a:spLocks/>
          </p:cNvSpPr>
          <p:nvPr/>
        </p:nvSpPr>
        <p:spPr bwMode="auto">
          <a:xfrm>
            <a:off x="214313" y="2528888"/>
            <a:ext cx="5172075" cy="428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>
              <a:spcBef>
                <a:spcPct val="20000"/>
              </a:spcBef>
              <a:buFontTx/>
              <a:buChar char="•"/>
            </a:pPr>
            <a:r>
              <a:rPr lang="ru-RU" sz="1400">
                <a:latin typeface="Times New Roman" pitchFamily="18" charset="0"/>
                <a:cs typeface="Times New Roman" pitchFamily="18" charset="0"/>
              </a:rPr>
              <a:t>Постановление Правительства РФ от 20.11.2020 № 1892 "О декларировании безопасности гидротехнических сооружений";</a:t>
            </a:r>
          </a:p>
          <a:p>
            <a:pPr algn="just">
              <a:spcBef>
                <a:spcPct val="20000"/>
              </a:spcBef>
              <a:buFontTx/>
              <a:buChar char="•"/>
            </a:pPr>
            <a:r>
              <a:rPr lang="ru-RU" sz="1400">
                <a:latin typeface="Times New Roman" pitchFamily="18" charset="0"/>
                <a:cs typeface="Times New Roman" pitchFamily="18" charset="0"/>
              </a:rPr>
              <a:t>Постановление Правительства РФ от 20.11.2020                        № 1893 «Об утверждении Правил формирования и ведения Российского регистра гидротехнических сооружений»;</a:t>
            </a:r>
          </a:p>
          <a:p>
            <a:pPr algn="just">
              <a:spcBef>
                <a:spcPct val="20000"/>
              </a:spcBef>
              <a:buFontTx/>
              <a:buChar char="•"/>
            </a:pPr>
            <a:r>
              <a:rPr lang="ru-RU" sz="1400">
                <a:latin typeface="Times New Roman" pitchFamily="18" charset="0"/>
                <a:cs typeface="Times New Roman" pitchFamily="18" charset="0"/>
              </a:rPr>
              <a:t>Приказ Ростехнадзора от 08.05.2024 № 151 «Об утверждении федеральных норм и правил в области безопасности гидротехнических сооружений «Требования к обеспечению безопасности гидротехнических сооружений (за исключением судоходных и портовых гидротехнических сооружений)»;</a:t>
            </a:r>
          </a:p>
          <a:p>
            <a:pPr algn="just">
              <a:spcBef>
                <a:spcPct val="20000"/>
              </a:spcBef>
              <a:buFontTx/>
              <a:buChar char="•"/>
            </a:pPr>
            <a:r>
              <a:rPr lang="ru-RU" sz="1400">
                <a:latin typeface="Times New Roman" pitchFamily="18" charset="0"/>
                <a:cs typeface="Times New Roman" pitchFamily="18" charset="0"/>
              </a:rPr>
              <a:t>Приказ Ростехнадзора от 20.07.2023 № 268 «Об утверждении перечня индикаторов риска нарушения обязательных требований, используемых при осуществлении федерального государственного надзора в области безопасности гидротехнических сооружений (за исключением портовых и судоходных гидротехнических сооружений)».</a:t>
            </a:r>
          </a:p>
          <a:p>
            <a:pPr algn="just">
              <a:spcBef>
                <a:spcPct val="20000"/>
              </a:spcBef>
              <a:buFontTx/>
              <a:buChar char="•"/>
            </a:pPr>
            <a:endParaRPr lang="ru-RU" sz="1400">
              <a:latin typeface="Calibri" pitchFamily="34" charset="0"/>
            </a:endParaRPr>
          </a:p>
        </p:txBody>
      </p:sp>
      <p:pic>
        <p:nvPicPr>
          <p:cNvPr id="3084" name="Picture 12"/>
          <p:cNvPicPr>
            <a:picLocks noChangeAspect="1" noChangeArrowheads="1"/>
          </p:cNvPicPr>
          <p:nvPr/>
        </p:nvPicPr>
        <p:blipFill rotWithShape="1">
          <a:blip r:embed="rId3"/>
          <a:srcRect l="38701" t="20565" r="11154" b="17620"/>
          <a:stretch/>
        </p:blipFill>
        <p:spPr bwMode="auto">
          <a:xfrm>
            <a:off x="5453063" y="3141663"/>
            <a:ext cx="4078287" cy="29527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/>
          </p:cNvSpPr>
          <p:nvPr/>
        </p:nvSpPr>
        <p:spPr bwMode="auto">
          <a:xfrm>
            <a:off x="1754188" y="836613"/>
            <a:ext cx="7596187" cy="70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endParaRPr lang="ru-RU" altLang="ru-RU" sz="2000" b="1">
              <a:solidFill>
                <a:schemeClr val="tx2"/>
              </a:solidFill>
            </a:endParaRPr>
          </a:p>
        </p:txBody>
      </p:sp>
      <p:sp>
        <p:nvSpPr>
          <p:cNvPr id="4099" name="Номер слайда 5"/>
          <p:cNvSpPr txBox="1">
            <a:spLocks noGrp="1"/>
          </p:cNvSpPr>
          <p:nvPr/>
        </p:nvSpPr>
        <p:spPr bwMode="auto">
          <a:xfrm>
            <a:off x="7292975" y="6448425"/>
            <a:ext cx="25050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AB2303E6-C2DF-4115-9F58-4AE78C2BE20B}" type="slidenum">
              <a:rPr lang="ru-RU" altLang="ru-RU" sz="1400">
                <a:latin typeface="Calibri" pitchFamily="34" charset="0"/>
              </a:rPr>
              <a:pPr algn="r" eaLnBrk="1" hangingPunct="1"/>
              <a:t>3</a:t>
            </a:fld>
            <a:endParaRPr lang="ru-RU" altLang="ru-RU" sz="1400">
              <a:latin typeface="Calibri" pitchFamily="34" charset="0"/>
            </a:endParaRPr>
          </a:p>
        </p:txBody>
      </p:sp>
      <p:grpSp>
        <p:nvGrpSpPr>
          <p:cNvPr id="4100" name="Group 9"/>
          <p:cNvGrpSpPr>
            <a:grpSpLocks/>
          </p:cNvGrpSpPr>
          <p:nvPr/>
        </p:nvGrpSpPr>
        <p:grpSpPr bwMode="auto">
          <a:xfrm>
            <a:off x="0" y="333375"/>
            <a:ext cx="9906000" cy="503238"/>
            <a:chOff x="793" y="164"/>
            <a:chExt cx="4400" cy="408"/>
          </a:xfrm>
        </p:grpSpPr>
        <p:sp>
          <p:nvSpPr>
            <p:cNvPr id="4117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4118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4119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4101" name="Picture 41" descr="fsetan_emblema20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485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02" name="Group 9"/>
          <p:cNvGrpSpPr>
            <a:grpSpLocks/>
          </p:cNvGrpSpPr>
          <p:nvPr/>
        </p:nvGrpSpPr>
        <p:grpSpPr bwMode="auto">
          <a:xfrm>
            <a:off x="0" y="333375"/>
            <a:ext cx="9906000" cy="503238"/>
            <a:chOff x="793" y="164"/>
            <a:chExt cx="4400" cy="408"/>
          </a:xfrm>
        </p:grpSpPr>
        <p:sp>
          <p:nvSpPr>
            <p:cNvPr id="4114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4115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4116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grpSp>
        <p:nvGrpSpPr>
          <p:cNvPr id="4103" name="Group 9"/>
          <p:cNvGrpSpPr>
            <a:grpSpLocks/>
          </p:cNvGrpSpPr>
          <p:nvPr/>
        </p:nvGrpSpPr>
        <p:grpSpPr bwMode="auto">
          <a:xfrm>
            <a:off x="0" y="304800"/>
            <a:ext cx="9906000" cy="503238"/>
            <a:chOff x="793" y="164"/>
            <a:chExt cx="4400" cy="408"/>
          </a:xfrm>
        </p:grpSpPr>
        <p:sp>
          <p:nvSpPr>
            <p:cNvPr id="4111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4112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4113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4104" name="Picture 41" descr="fsetan_emblema20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55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Заголовок 1"/>
          <p:cNvSpPr>
            <a:spLocks noGrp="1"/>
          </p:cNvSpPr>
          <p:nvPr>
            <p:ph type="ctrTitle"/>
          </p:nvPr>
        </p:nvSpPr>
        <p:spPr>
          <a:xfrm>
            <a:off x="825500" y="836613"/>
            <a:ext cx="8420100" cy="504825"/>
          </a:xfrm>
        </p:spPr>
        <p:txBody>
          <a:bodyPr/>
          <a:lstStyle/>
          <a:p>
            <a:pPr eaLnBrk="1" hangingPunct="1"/>
            <a:r>
              <a:rPr lang="ru-RU" altLang="ru-RU" sz="2000" b="1" smtClean="0">
                <a:latin typeface="Times New Roman" pitchFamily="18" charset="0"/>
                <a:cs typeface="Times New Roman" pitchFamily="18" charset="0"/>
              </a:rPr>
              <a:t>Основные функции Ростехнадзора в области безопасности ГТС</a:t>
            </a:r>
          </a:p>
        </p:txBody>
      </p:sp>
      <p:sp>
        <p:nvSpPr>
          <p:cNvPr id="410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52425" y="1395413"/>
            <a:ext cx="6940550" cy="2538412"/>
          </a:xfrm>
        </p:spPr>
        <p:txBody>
          <a:bodyPr rtlCol="0">
            <a:normAutofit fontScale="92500"/>
          </a:bodyPr>
          <a:lstStyle/>
          <a:p>
            <a:pPr marL="285750" indent="-285750" eaLnBrk="1" fontAlgn="auto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Профилактика нарушений обязательных требований;</a:t>
            </a:r>
          </a:p>
          <a:p>
            <a:pPr marL="285750" indent="-285750" eaLnBrk="1" fontAlgn="auto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Проведение контрольных (надзорных) мероприятий;</a:t>
            </a:r>
          </a:p>
          <a:p>
            <a:pPr marL="285750" indent="-285750" eaLnBrk="1" fontAlgn="auto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Осуществление постоянного государственного контроля (надзора);</a:t>
            </a:r>
          </a:p>
          <a:p>
            <a:pPr marL="285750" indent="-285750" eaLnBrk="1" fontAlgn="auto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Утверждение деклараций безопасности ГТС;</a:t>
            </a:r>
          </a:p>
          <a:p>
            <a:pPr marL="285750" indent="-285750" eaLnBrk="1" fontAlgn="auto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Внесение заключения экспертной комиссии по декларации безопасности ГТС в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Реестр заключений экспертных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комиссий;</a:t>
            </a:r>
          </a:p>
          <a:p>
            <a:pPr marL="285750" indent="-285750" eaLnBrk="1" fontAlgn="auto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Формирование отраслевого раздела Регистра ГТС и Реестра деклараций безопасности ГТС; </a:t>
            </a:r>
          </a:p>
          <a:p>
            <a:pPr marL="285750" indent="-285750" eaLnBrk="1" fontAlgn="auto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Иные функции, предусмотренные законодательством о безопасности ГТС.</a:t>
            </a:r>
            <a:endParaRPr lang="ru-RU" altLang="ru-RU" sz="1600" dirty="0" smtClean="0"/>
          </a:p>
        </p:txBody>
      </p:sp>
      <p:pic>
        <p:nvPicPr>
          <p:cNvPr id="4107" name="Picture 4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25" y="4043363"/>
            <a:ext cx="2693988" cy="2487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  <p:pic>
        <p:nvPicPr>
          <p:cNvPr id="4145" name="Picture 4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97238" y="4041775"/>
            <a:ext cx="2465387" cy="248761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46" name="Picture 50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85025" y="1268413"/>
            <a:ext cx="2266950" cy="17335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Схема 5"/>
          <p:cNvGraphicFramePr/>
          <p:nvPr/>
        </p:nvGraphicFramePr>
        <p:xfrm>
          <a:off x="5097016" y="3000995"/>
          <a:ext cx="5504309" cy="36299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>
          <a:xfrm>
            <a:off x="412750" y="722313"/>
            <a:ext cx="8997950" cy="1143000"/>
          </a:xfrm>
        </p:spPr>
        <p:txBody>
          <a:bodyPr/>
          <a:lstStyle/>
          <a:p>
            <a:pPr eaLnBrk="1" hangingPunct="1"/>
            <a:r>
              <a:rPr lang="ru-RU" sz="2000" b="1" smtClean="0">
                <a:latin typeface="Times New Roman" pitchFamily="18" charset="0"/>
                <a:cs typeface="Times New Roman" pitchFamily="18" charset="0"/>
              </a:rPr>
              <a:t>Обеспечение безопасности гидротехнических сооружений осуществляется на основании следующих</a:t>
            </a:r>
            <a:r>
              <a:rPr lang="en-US" sz="2000" b="1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smtClean="0">
                <a:latin typeface="Times New Roman" pitchFamily="18" charset="0"/>
                <a:cs typeface="Times New Roman" pitchFamily="18" charset="0"/>
              </a:rPr>
              <a:t>общих требований</a:t>
            </a:r>
          </a:p>
        </p:txBody>
      </p:sp>
      <p:sp>
        <p:nvSpPr>
          <p:cNvPr id="5123" name="Объект 2"/>
          <p:cNvSpPr>
            <a:spLocks noGrp="1"/>
          </p:cNvSpPr>
          <p:nvPr>
            <p:ph idx="1"/>
          </p:nvPr>
        </p:nvSpPr>
        <p:spPr>
          <a:xfrm>
            <a:off x="412750" y="1773238"/>
            <a:ext cx="8915400" cy="4608512"/>
          </a:xfrm>
        </p:spPr>
        <p:txBody>
          <a:bodyPr/>
          <a:lstStyle/>
          <a:p>
            <a:pPr algn="just" eaLnBrk="1" hangingPunct="1"/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Обеспечение допустимого уровня риска аварий ГТС.</a:t>
            </a:r>
          </a:p>
          <a:p>
            <a:pPr algn="just" eaLnBrk="1" hangingPunct="1"/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Представление деклараций безопасности ГТС.</a:t>
            </a:r>
          </a:p>
          <a:p>
            <a:pPr algn="just" eaLnBrk="1" hangingPunct="1"/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Непрерывность эксплуатации ГТС.</a:t>
            </a:r>
          </a:p>
          <a:p>
            <a:pPr algn="just" eaLnBrk="1" hangingPunct="1"/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Осуществление мер по обеспечению безопасности ГТС, в том числе установление критериев их безопасности, оснащение ГТС техническими средствами в целях постоянного контроля за их состоянием, обеспечение необходимой квалификации работников, обслуживающих ГТС.</a:t>
            </a:r>
          </a:p>
          <a:p>
            <a:pPr algn="just" eaLnBrk="1" hangingPunct="1"/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Необходимость заблаговременного проведения комплекса мероприятий по максимальному уменьшению риска возникновения чрезвычайных ситуаций на ГТС.</a:t>
            </a:r>
          </a:p>
          <a:p>
            <a:pPr algn="just" eaLnBrk="1" hangingPunct="1"/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Проектирование, строительство и реконструкция ГТС в соответствии с проектной документацией, разработанной с учетом класса ответственности ГТС, устанавливаемого в соответствии с законодательством о техническом регулировании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B1E3EA-16E5-49AB-9598-68281F6F13DC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grpSp>
        <p:nvGrpSpPr>
          <p:cNvPr id="5125" name="Group 9"/>
          <p:cNvGrpSpPr>
            <a:grpSpLocks/>
          </p:cNvGrpSpPr>
          <p:nvPr/>
        </p:nvGrpSpPr>
        <p:grpSpPr bwMode="auto">
          <a:xfrm>
            <a:off x="0" y="304800"/>
            <a:ext cx="9906000" cy="503238"/>
            <a:chOff x="793" y="164"/>
            <a:chExt cx="4400" cy="408"/>
          </a:xfrm>
        </p:grpSpPr>
        <p:sp>
          <p:nvSpPr>
            <p:cNvPr id="5127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5128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5129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5126" name="Picture 41" descr="fsetan_emblema200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55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11FC3C72-7E42-4DCA-A7DC-3A03224ED437}" type="slidenum">
              <a:rPr lang="ru-RU" altLang="ru-RU" smtClean="0"/>
              <a:pPr eaLnBrk="1" hangingPunct="1"/>
              <a:t>5</a:t>
            </a:fld>
            <a:endParaRPr lang="ru-RU" altLang="ru-RU" smtClean="0"/>
          </a:p>
        </p:txBody>
      </p:sp>
      <p:grpSp>
        <p:nvGrpSpPr>
          <p:cNvPr id="6147" name="Group 9"/>
          <p:cNvGrpSpPr>
            <a:grpSpLocks/>
          </p:cNvGrpSpPr>
          <p:nvPr/>
        </p:nvGrpSpPr>
        <p:grpSpPr bwMode="auto">
          <a:xfrm>
            <a:off x="0" y="304800"/>
            <a:ext cx="9906000" cy="503238"/>
            <a:chOff x="793" y="164"/>
            <a:chExt cx="4400" cy="408"/>
          </a:xfrm>
        </p:grpSpPr>
        <p:sp>
          <p:nvSpPr>
            <p:cNvPr id="6208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6209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6210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6148" name="Picture 41" descr="fsetan_emblema20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55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Прямоугольник 8"/>
          <p:cNvSpPr>
            <a:spLocks noChangeArrowheads="1"/>
          </p:cNvSpPr>
          <p:nvPr/>
        </p:nvSpPr>
        <p:spPr bwMode="auto">
          <a:xfrm>
            <a:off x="560388" y="981075"/>
            <a:ext cx="92170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На территориях  6 субъектов Сибирского федерального округа расположен </a:t>
            </a:r>
          </a:p>
          <a:p>
            <a:pPr algn="ctr"/>
            <a:r>
              <a:rPr lang="ru-RU" altLang="ru-RU" dirty="0" smtClean="0"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altLang="ru-RU" dirty="0" smtClean="0">
                <a:latin typeface="Times New Roman" pitchFamily="18" charset="0"/>
                <a:cs typeface="Times New Roman" pitchFamily="18" charset="0"/>
              </a:rPr>
              <a:t>17</a:t>
            </a:r>
            <a:r>
              <a:rPr lang="ru-RU" alt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комплексов ГТС 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0092373"/>
              </p:ext>
            </p:extLst>
          </p:nvPr>
        </p:nvGraphicFramePr>
        <p:xfrm>
          <a:off x="846138" y="1700213"/>
          <a:ext cx="8355012" cy="4465635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624391"/>
                <a:gridCol w="1567060"/>
                <a:gridCol w="1442389"/>
                <a:gridCol w="1442389"/>
                <a:gridCol w="1278783"/>
              </a:tblGrid>
              <a:tr h="68733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убъекты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Федерац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а оценка рисков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Не проведена оценка риск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75" marR="6857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</a:tr>
              <a:tr h="6873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Всего ГТС</a:t>
                      </a: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из них бесхозяйные ГТС</a:t>
                      </a: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36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емеровская область - Кузбасс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49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</a:tr>
              <a:tr h="5645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овосибирская область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77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93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</a:tr>
              <a:tr h="412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омская область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6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</a:tr>
              <a:tr h="412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мская област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41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</a:tr>
              <a:tr h="412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Алтайский кра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55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3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78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</a:tr>
              <a:tr h="412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еспублика Алта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4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</a:tr>
              <a:tr h="41253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72" marR="6857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468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2801" marR="6280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49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517</a:t>
                      </a:r>
                      <a:endParaRPr kumimoji="0" lang="ru-RU" sz="14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72" marR="68572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Объект 2"/>
          <p:cNvSpPr>
            <a:spLocks noGrp="1"/>
          </p:cNvSpPr>
          <p:nvPr>
            <p:ph idx="1"/>
          </p:nvPr>
        </p:nvSpPr>
        <p:spPr>
          <a:xfrm>
            <a:off x="412750" y="981075"/>
            <a:ext cx="9077325" cy="5145088"/>
          </a:xfrm>
        </p:spPr>
        <p:txBody>
          <a:bodyPr/>
          <a:lstStyle/>
          <a:p>
            <a:pPr marL="0" indent="0" algn="ctr" eaLnBrk="1" hangingPunct="1">
              <a:buFontTx/>
              <a:buNone/>
            </a:pPr>
            <a:r>
              <a:rPr lang="ru-RU" altLang="ru-RU" smtClean="0"/>
              <a:t>Порядок декларирования безопасности гидротехнических сооружений</a:t>
            </a:r>
          </a:p>
        </p:txBody>
      </p:sp>
      <p:sp>
        <p:nvSpPr>
          <p:cNvPr id="7171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7577E218-E2F2-4E25-B835-B8061ACBA709}" type="slidenum">
              <a:rPr lang="ru-RU" altLang="ru-RU" smtClean="0"/>
              <a:pPr eaLnBrk="1" hangingPunct="1"/>
              <a:t>6</a:t>
            </a:fld>
            <a:endParaRPr lang="ru-RU" altLang="ru-RU" smtClean="0"/>
          </a:p>
        </p:txBody>
      </p:sp>
      <p:grpSp>
        <p:nvGrpSpPr>
          <p:cNvPr id="7172" name="Group 9"/>
          <p:cNvGrpSpPr>
            <a:grpSpLocks/>
          </p:cNvGrpSpPr>
          <p:nvPr/>
        </p:nvGrpSpPr>
        <p:grpSpPr bwMode="auto">
          <a:xfrm>
            <a:off x="0" y="304800"/>
            <a:ext cx="9906000" cy="503238"/>
            <a:chOff x="793" y="164"/>
            <a:chExt cx="4400" cy="408"/>
          </a:xfrm>
        </p:grpSpPr>
        <p:sp>
          <p:nvSpPr>
            <p:cNvPr id="7183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7184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7185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7173" name="Picture 41" descr="fsetan_emblema200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55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12750" y="3348038"/>
            <a:ext cx="2668588" cy="266541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вероятного вреда + акт преддекларационного обследования ГТС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043229" y="2249651"/>
            <a:ext cx="3998679" cy="989855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80000">
                <a:schemeClr val="bg1">
                  <a:lumMod val="5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мер вероятного вреда от аварии на ГТС =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 руб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529013" y="3346450"/>
            <a:ext cx="3024187" cy="266382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и утверждение декларации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ости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ТС, ее экспертиза 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040563" y="3348038"/>
            <a:ext cx="2449512" cy="266382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сение сведений в Российский регистр ГТС с присвоением класса и уровня безопасности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5" name="Прямая со стрелкой 14"/>
          <p:cNvCxnSpPr>
            <a:stCxn id="11" idx="3"/>
            <a:endCxn id="13" idx="1"/>
          </p:cNvCxnSpPr>
          <p:nvPr/>
        </p:nvCxnSpPr>
        <p:spPr>
          <a:xfrm flipV="1">
            <a:off x="3081338" y="4678363"/>
            <a:ext cx="447675" cy="317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>
            <a:stCxn id="13" idx="3"/>
            <a:endCxn id="14" idx="1"/>
          </p:cNvCxnSpPr>
          <p:nvPr/>
        </p:nvCxnSpPr>
        <p:spPr>
          <a:xfrm>
            <a:off x="6553200" y="4678363"/>
            <a:ext cx="487363" cy="158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stCxn id="11" idx="0"/>
          </p:cNvCxnSpPr>
          <p:nvPr/>
        </p:nvCxnSpPr>
        <p:spPr>
          <a:xfrm flipV="1">
            <a:off x="1746250" y="2744788"/>
            <a:ext cx="1296988" cy="6032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/>
          <p:cNvSpPr>
            <a:spLocks noGrp="1"/>
          </p:cNvSpPr>
          <p:nvPr>
            <p:ph type="title"/>
          </p:nvPr>
        </p:nvSpPr>
        <p:spPr>
          <a:xfrm>
            <a:off x="488504" y="612989"/>
            <a:ext cx="9066213" cy="832768"/>
          </a:xfrm>
        </p:spPr>
        <p:txBody>
          <a:bodyPr/>
          <a:lstStyle/>
          <a:p>
            <a:pPr eaLnBrk="1" hangingPunct="1"/>
            <a:r>
              <a:rPr lang="ru-RU" sz="2800" dirty="0" smtClean="0"/>
              <a:t>Декларирование безопасности </a:t>
            </a:r>
            <a:r>
              <a:rPr lang="ru-RU" sz="2800" dirty="0" smtClean="0"/>
              <a:t>ГТС</a:t>
            </a:r>
            <a:endParaRPr lang="ru-RU" sz="2800" dirty="0" smtClean="0"/>
          </a:p>
        </p:txBody>
      </p:sp>
      <p:graphicFrame>
        <p:nvGraphicFramePr>
          <p:cNvPr id="2" name="Объект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6673919"/>
              </p:ext>
            </p:extLst>
          </p:nvPr>
        </p:nvGraphicFramePr>
        <p:xfrm>
          <a:off x="4232920" y="1988840"/>
          <a:ext cx="5472608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DBAC54-5482-477C-9E0E-652DB6745CD8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grpSp>
        <p:nvGrpSpPr>
          <p:cNvPr id="8197" name="Group 9"/>
          <p:cNvGrpSpPr>
            <a:grpSpLocks/>
          </p:cNvGrpSpPr>
          <p:nvPr/>
        </p:nvGrpSpPr>
        <p:grpSpPr bwMode="auto">
          <a:xfrm>
            <a:off x="0" y="304800"/>
            <a:ext cx="9906000" cy="503238"/>
            <a:chOff x="793" y="164"/>
            <a:chExt cx="4400" cy="408"/>
          </a:xfrm>
        </p:grpSpPr>
        <p:sp>
          <p:nvSpPr>
            <p:cNvPr id="8199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8200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8201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8198" name="Picture 41" descr="fsetan_emblema20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55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4304928" y="1429336"/>
            <a:ext cx="5258173" cy="542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sz="2000" b="1" dirty="0" smtClean="0"/>
              <a:t>Количество поднадзорных ГТС без деклараций безопасности ГТС</a:t>
            </a:r>
            <a:endParaRPr lang="ru-RU" sz="2000" b="1" dirty="0" smtClean="0"/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4149197165"/>
              </p:ext>
            </p:extLst>
          </p:nvPr>
        </p:nvGraphicFramePr>
        <p:xfrm>
          <a:off x="128464" y="1971307"/>
          <a:ext cx="468052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-1" y="1429336"/>
            <a:ext cx="5258173" cy="542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sz="2000" b="1" dirty="0" smtClean="0"/>
              <a:t>Государственная услуга по утверждению деклараций безопасности ГТС</a:t>
            </a:r>
            <a:endParaRPr lang="ru-RU" sz="2000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/>
          </p:cNvSpPr>
          <p:nvPr/>
        </p:nvSpPr>
        <p:spPr bwMode="auto">
          <a:xfrm>
            <a:off x="1754188" y="836613"/>
            <a:ext cx="7596187" cy="70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endParaRPr lang="ru-RU" altLang="ru-RU" sz="2000" b="1">
              <a:solidFill>
                <a:schemeClr val="tx2"/>
              </a:solidFill>
            </a:endParaRPr>
          </a:p>
        </p:txBody>
      </p:sp>
      <p:sp>
        <p:nvSpPr>
          <p:cNvPr id="9219" name="Номер слайда 5"/>
          <p:cNvSpPr txBox="1">
            <a:spLocks noGrp="1"/>
          </p:cNvSpPr>
          <p:nvPr/>
        </p:nvSpPr>
        <p:spPr bwMode="auto">
          <a:xfrm>
            <a:off x="7270750" y="6448425"/>
            <a:ext cx="25050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B3149CFB-8CF6-4C30-B7CC-888B4E59AC72}" type="slidenum">
              <a:rPr lang="ru-RU" altLang="ru-RU" sz="1200">
                <a:latin typeface="Calibri" pitchFamily="34" charset="0"/>
              </a:rPr>
              <a:pPr algn="r" eaLnBrk="1" hangingPunct="1"/>
              <a:t>8</a:t>
            </a:fld>
            <a:endParaRPr lang="ru-RU" altLang="ru-RU" sz="1200">
              <a:latin typeface="Calibri" pitchFamily="34" charset="0"/>
            </a:endParaRPr>
          </a:p>
        </p:txBody>
      </p:sp>
      <p:grpSp>
        <p:nvGrpSpPr>
          <p:cNvPr id="9220" name="Group 9"/>
          <p:cNvGrpSpPr>
            <a:grpSpLocks/>
          </p:cNvGrpSpPr>
          <p:nvPr/>
        </p:nvGrpSpPr>
        <p:grpSpPr bwMode="auto">
          <a:xfrm>
            <a:off x="0" y="333375"/>
            <a:ext cx="9906000" cy="503238"/>
            <a:chOff x="793" y="164"/>
            <a:chExt cx="4400" cy="408"/>
          </a:xfrm>
        </p:grpSpPr>
        <p:sp>
          <p:nvSpPr>
            <p:cNvPr id="9407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9408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9409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9221" name="Picture 41" descr="fsetan_emblema20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485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222" name="Group 9"/>
          <p:cNvGrpSpPr>
            <a:grpSpLocks/>
          </p:cNvGrpSpPr>
          <p:nvPr/>
        </p:nvGrpSpPr>
        <p:grpSpPr bwMode="auto">
          <a:xfrm>
            <a:off x="0" y="333375"/>
            <a:ext cx="9906000" cy="503238"/>
            <a:chOff x="793" y="164"/>
            <a:chExt cx="4400" cy="408"/>
          </a:xfrm>
        </p:grpSpPr>
        <p:sp>
          <p:nvSpPr>
            <p:cNvPr id="9404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9405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9406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grpSp>
        <p:nvGrpSpPr>
          <p:cNvPr id="9223" name="Group 9"/>
          <p:cNvGrpSpPr>
            <a:grpSpLocks/>
          </p:cNvGrpSpPr>
          <p:nvPr/>
        </p:nvGrpSpPr>
        <p:grpSpPr bwMode="auto">
          <a:xfrm>
            <a:off x="0" y="304800"/>
            <a:ext cx="9906000" cy="503238"/>
            <a:chOff x="793" y="164"/>
            <a:chExt cx="4400" cy="408"/>
          </a:xfrm>
        </p:grpSpPr>
        <p:sp>
          <p:nvSpPr>
            <p:cNvPr id="9401" name="Rectangle 10"/>
            <p:cNvSpPr>
              <a:spLocks noChangeArrowheads="1"/>
            </p:cNvSpPr>
            <p:nvPr/>
          </p:nvSpPr>
          <p:spPr bwMode="auto">
            <a:xfrm>
              <a:off x="793" y="164"/>
              <a:ext cx="4400" cy="136"/>
            </a:xfrm>
            <a:prstGeom prst="rect">
              <a:avLst/>
            </a:prstGeom>
            <a:solidFill>
              <a:srgbClr val="EAEAEA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9402" name="Rectangle 11"/>
            <p:cNvSpPr>
              <a:spLocks noChangeArrowheads="1"/>
            </p:cNvSpPr>
            <p:nvPr/>
          </p:nvSpPr>
          <p:spPr bwMode="auto">
            <a:xfrm>
              <a:off x="793" y="300"/>
              <a:ext cx="4400" cy="136"/>
            </a:xfrm>
            <a:prstGeom prst="rect">
              <a:avLst/>
            </a:prstGeom>
            <a:solidFill>
              <a:srgbClr val="0066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  <p:sp>
          <p:nvSpPr>
            <p:cNvPr id="9403" name="Rectangle 12"/>
            <p:cNvSpPr>
              <a:spLocks noChangeArrowheads="1"/>
            </p:cNvSpPr>
            <p:nvPr/>
          </p:nvSpPr>
          <p:spPr bwMode="auto">
            <a:xfrm>
              <a:off x="793" y="433"/>
              <a:ext cx="4400" cy="139"/>
            </a:xfrm>
            <a:prstGeom prst="rect">
              <a:avLst/>
            </a:prstGeom>
            <a:solidFill>
              <a:srgbClr val="FF0000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/>
            </a:p>
          </p:txBody>
        </p:sp>
      </p:grpSp>
      <p:pic>
        <p:nvPicPr>
          <p:cNvPr id="9224" name="Picture 41" descr="fsetan_emblema20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55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5" name="Прямоугольник 23"/>
          <p:cNvSpPr>
            <a:spLocks noChangeArrowheads="1"/>
          </p:cNvSpPr>
          <p:nvPr/>
        </p:nvSpPr>
        <p:spPr bwMode="auto">
          <a:xfrm>
            <a:off x="4819650" y="2239963"/>
            <a:ext cx="6681788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457200">
              <a:lnSpc>
                <a:spcPct val="90000"/>
              </a:lnSpc>
            </a:pPr>
            <a:r>
              <a:rPr lang="ru-RU" altLang="ru-RU" sz="1600" b="1">
                <a:latin typeface="Arial Narrow" pitchFamily="34" charset="0"/>
                <a:ea typeface="Calibri" pitchFamily="34" charset="0"/>
                <a:cs typeface="Times New Roman" pitchFamily="18" charset="0"/>
              </a:rPr>
              <a:t> </a:t>
            </a:r>
          </a:p>
        </p:txBody>
      </p:sp>
      <p:sp>
        <p:nvSpPr>
          <p:cNvPr id="9226" name="Прямоугольник 24"/>
          <p:cNvSpPr>
            <a:spLocks noChangeArrowheads="1"/>
          </p:cNvSpPr>
          <p:nvPr/>
        </p:nvSpPr>
        <p:spPr bwMode="auto">
          <a:xfrm>
            <a:off x="8272463" y="4775200"/>
            <a:ext cx="275272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457200" algn="just">
              <a:lnSpc>
                <a:spcPct val="90000"/>
              </a:lnSpc>
            </a:pPr>
            <a:r>
              <a:rPr lang="ru-RU" altLang="ru-RU" sz="1600">
                <a:latin typeface="Arial Narrow" pitchFamily="34" charset="0"/>
                <a:ea typeface="Calibri" pitchFamily="34" charset="0"/>
                <a:cs typeface="Times New Roman" pitchFamily="18" charset="0"/>
              </a:rPr>
              <a:t> 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3949700" y="5961063"/>
            <a:ext cx="2217738" cy="1339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342900" indent="-342900">
              <a:defRPr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601913" indent="-3159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3059113" indent="-3159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516313" indent="-3159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973513" indent="-3159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marL="0" indent="0">
              <a:defRPr/>
            </a:pPr>
            <a:endParaRPr lang="ru-RU" sz="1100" dirty="0" smtClean="0"/>
          </a:p>
        </p:txBody>
      </p:sp>
      <p:sp>
        <p:nvSpPr>
          <p:cNvPr id="9228" name="Прямоугольник 1"/>
          <p:cNvSpPr>
            <a:spLocks noChangeArrowheads="1"/>
          </p:cNvSpPr>
          <p:nvPr/>
        </p:nvSpPr>
        <p:spPr bwMode="auto">
          <a:xfrm>
            <a:off x="0" y="862013"/>
            <a:ext cx="9906000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indent="449263" algn="ctr">
              <a:lnSpc>
                <a:spcPct val="115000"/>
              </a:lnSpc>
              <a:spcAft>
                <a:spcPts val="1000"/>
              </a:spcAft>
            </a:pPr>
            <a:r>
              <a:rPr lang="ru-RU" altLang="ru-RU" sz="20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Количество</a:t>
            </a:r>
            <a:r>
              <a:rPr lang="ru-RU" alt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altLang="ru-RU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однадзорных гидротехнических сооружений  по состоянию на </a:t>
            </a:r>
            <a:r>
              <a:rPr lang="ru-RU" altLang="ru-RU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01.02.2026</a:t>
            </a:r>
            <a:endParaRPr lang="ru-RU" altLang="ru-RU" sz="1400" b="1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6602020"/>
              </p:ext>
            </p:extLst>
          </p:nvPr>
        </p:nvGraphicFramePr>
        <p:xfrm>
          <a:off x="0" y="1354138"/>
          <a:ext cx="9906000" cy="5027615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560388"/>
                <a:gridCol w="2143125"/>
                <a:gridCol w="1262062"/>
                <a:gridCol w="1039813"/>
                <a:gridCol w="998537"/>
                <a:gridCol w="1031875"/>
                <a:gridCol w="946150"/>
                <a:gridCol w="992188"/>
                <a:gridCol w="931862"/>
              </a:tblGrid>
              <a:tr h="7316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п/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b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убъект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Распределение</a:t>
                      </a:r>
                      <a:b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 показателям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емеровская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ласть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овосибирска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ласть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омска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ласть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мская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ласть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Алтайский кра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Республика Алта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того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302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 gridSpan="8">
                  <a:txBody>
                    <a:bodyPr/>
                    <a:lstStyle/>
                    <a:p>
                      <a:pPr marL="71438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 классам гидротехнических сооружени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2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3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I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4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V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 gridSpan="8">
                  <a:txBody>
                    <a:bodyPr/>
                    <a:lstStyle/>
                    <a:p>
                      <a:pPr marL="71438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 отраслям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1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энергетика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2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мышленность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3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водохозяйственный комплекс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 gridSpan="8">
                  <a:txBody>
                    <a:bodyPr/>
                    <a:lstStyle/>
                    <a:p>
                      <a:pPr marL="71438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 уровню безопасности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1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ормальны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32130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ниженны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еудовлетворительный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пасный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  <a:tr h="2880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E83ACB8D-6661-44DD-AED8-C4528359988B}" type="slidenum">
              <a:rPr lang="ru-RU" altLang="ru-RU" smtClean="0"/>
              <a:pPr eaLnBrk="1" hangingPunct="1"/>
              <a:t>9</a:t>
            </a:fld>
            <a:endParaRPr lang="ru-RU" altLang="ru-RU" smtClean="0"/>
          </a:p>
        </p:txBody>
      </p:sp>
      <p:pic>
        <p:nvPicPr>
          <p:cNvPr id="1024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8913"/>
            <a:ext cx="9907588" cy="506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pic>
      <p:pic>
        <p:nvPicPr>
          <p:cNvPr id="10244" name="Picture 41" descr="fsetan_emblema20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55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Диаграмма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5569485"/>
              </p:ext>
            </p:extLst>
          </p:nvPr>
        </p:nvGraphicFramePr>
        <p:xfrm>
          <a:off x="1640632" y="548680"/>
          <a:ext cx="6759575" cy="35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320" name="Номер слайда 5"/>
          <p:cNvSpPr txBox="1">
            <a:spLocks noGrp="1"/>
          </p:cNvSpPr>
          <p:nvPr/>
        </p:nvSpPr>
        <p:spPr bwMode="auto">
          <a:xfrm>
            <a:off x="7270750" y="6448425"/>
            <a:ext cx="25050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8" tIns="45704" rIns="91408" bIns="45704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ADA173DC-D7CE-4F7D-8CC7-F2B4039914B2}" type="slidenum">
              <a:rPr lang="ru-RU" altLang="ru-RU" sz="1200">
                <a:latin typeface="Calibri" pitchFamily="34" charset="0"/>
              </a:rPr>
              <a:pPr algn="r" eaLnBrk="1" hangingPunct="1"/>
              <a:t>9</a:t>
            </a:fld>
            <a:endParaRPr lang="ru-RU" altLang="ru-RU" sz="1200">
              <a:latin typeface="Calibri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831202"/>
              </p:ext>
            </p:extLst>
          </p:nvPr>
        </p:nvGraphicFramePr>
        <p:xfrm>
          <a:off x="631825" y="4149725"/>
          <a:ext cx="8861424" cy="2486024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308182"/>
                <a:gridCol w="1092207"/>
                <a:gridCol w="1092207"/>
                <a:gridCol w="1092207"/>
                <a:gridCol w="1092207"/>
                <a:gridCol w="1092207"/>
                <a:gridCol w="1092207"/>
              </a:tblGrid>
              <a:tr h="31075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</a:rPr>
                        <a:t>Субъекты Федерации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31.12.202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31.12.2021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1.12.2022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1.12.2023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23.12.2024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</a:rPr>
                        <a:t>27</a:t>
                      </a:r>
                      <a:r>
                        <a:rPr lang="ru-RU" sz="1300" dirty="0" smtClean="0">
                          <a:effectLst/>
                        </a:rPr>
                        <a:t>.02.202</a:t>
                      </a:r>
                      <a:r>
                        <a:rPr lang="en-US" sz="1300" dirty="0" smtClean="0">
                          <a:effectLst/>
                        </a:rPr>
                        <a:t>6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</a:tr>
              <a:tr h="3107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Новосибирская область  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6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6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6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3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</a:tr>
              <a:tr h="31075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Омская область 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5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3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</a:tr>
              <a:tr h="31075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Алтайский край 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94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71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41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2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4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</a:rPr>
                        <a:t>2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</a:tr>
              <a:tr h="3107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емеровская область - Кузбасс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4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</a:tr>
              <a:tr h="31075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Республика Алтай 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</a:tr>
              <a:tr h="31075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Томская область 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0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</a:tr>
              <a:tr h="31075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Итого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19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81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48</a:t>
                      </a:r>
                      <a:endParaRPr lang="ru-RU" sz="10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26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7</a:t>
                      </a:r>
                      <a:endParaRPr lang="ru-RU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3635" marR="63635" marT="883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3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39</TotalTime>
  <Words>1610</Words>
  <Application>Microsoft Office PowerPoint</Application>
  <PresentationFormat>Лист A4 (210x297 мм)</PresentationFormat>
  <Paragraphs>346</Paragraphs>
  <Slides>15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Тема Office</vt:lpstr>
      <vt:lpstr>Слайд think-cell</vt:lpstr>
      <vt:lpstr>Презентация PowerPoint</vt:lpstr>
      <vt:lpstr>Федеральный государственный надзор в области безопасности гидротехнических сооружений</vt:lpstr>
      <vt:lpstr>Основные функции Ростехнадзора в области безопасности ГТС</vt:lpstr>
      <vt:lpstr>Обеспечение безопасности гидротехнических сооружений осуществляется на основании следующих общих требований</vt:lpstr>
      <vt:lpstr>Презентация PowerPoint</vt:lpstr>
      <vt:lpstr>Презентация PowerPoint</vt:lpstr>
      <vt:lpstr>Декларирование безопасности ГТС</vt:lpstr>
      <vt:lpstr>Презентация PowerPoint</vt:lpstr>
      <vt:lpstr>Презентация PowerPoint</vt:lpstr>
      <vt:lpstr>Типовые нарушения обязательных требований в области безопасности гидротехнических сооружений, выявляемые в рамках контрольных действий </vt:lpstr>
      <vt:lpstr>Презентация PowerPoint</vt:lpstr>
      <vt:lpstr>Презентация PowerPoint</vt:lpstr>
      <vt:lpstr>Презентация PowerPoint</vt:lpstr>
      <vt:lpstr>Презентация PowerPoint</vt:lpstr>
      <vt:lpstr>Благодарю за внимание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I.Krivenko</dc:creator>
  <cp:lastModifiedBy>user</cp:lastModifiedBy>
  <cp:revision>426</cp:revision>
  <dcterms:created xsi:type="dcterms:W3CDTF">2010-12-07T08:40:31Z</dcterms:created>
  <dcterms:modified xsi:type="dcterms:W3CDTF">2026-02-24T19:49:26Z</dcterms:modified>
</cp:coreProperties>
</file>